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5.xml" ContentType="application/vnd.openxmlformats-officedocument.themeOverride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56" r:id="rId2"/>
    <p:sldId id="269" r:id="rId3"/>
    <p:sldId id="258" r:id="rId4"/>
    <p:sldId id="287" r:id="rId5"/>
    <p:sldId id="292" r:id="rId6"/>
    <p:sldId id="293" r:id="rId7"/>
    <p:sldId id="288" r:id="rId8"/>
    <p:sldId id="283" r:id="rId9"/>
    <p:sldId id="295" r:id="rId10"/>
    <p:sldId id="294" r:id="rId11"/>
    <p:sldId id="296" r:id="rId12"/>
    <p:sldId id="297" r:id="rId13"/>
    <p:sldId id="278" r:id="rId14"/>
    <p:sldId id="286" r:id="rId15"/>
    <p:sldId id="298" r:id="rId16"/>
    <p:sldId id="299" r:id="rId17"/>
    <p:sldId id="300" r:id="rId18"/>
    <p:sldId id="301" r:id="rId19"/>
    <p:sldId id="302" r:id="rId20"/>
    <p:sldId id="303" r:id="rId21"/>
    <p:sldId id="291" r:id="rId22"/>
    <p:sldId id="290" r:id="rId23"/>
    <p:sldId id="304" r:id="rId24"/>
    <p:sldId id="305" r:id="rId25"/>
    <p:sldId id="306" r:id="rId26"/>
    <p:sldId id="307" r:id="rId27"/>
    <p:sldId id="308" r:id="rId28"/>
    <p:sldId id="309" r:id="rId29"/>
    <p:sldId id="310" r:id="rId30"/>
    <p:sldId id="311" r:id="rId31"/>
    <p:sldId id="312" r:id="rId32"/>
    <p:sldId id="313" r:id="rId33"/>
    <p:sldId id="314" r:id="rId34"/>
    <p:sldId id="315" r:id="rId35"/>
    <p:sldId id="316" r:id="rId36"/>
    <p:sldId id="317" r:id="rId37"/>
    <p:sldId id="318" r:id="rId38"/>
    <p:sldId id="319" r:id="rId39"/>
    <p:sldId id="320" r:id="rId40"/>
    <p:sldId id="321" r:id="rId41"/>
    <p:sldId id="322" r:id="rId42"/>
    <p:sldId id="261" r:id="rId43"/>
  </p:sldIdLst>
  <p:sldSz cx="12192000" cy="6858000"/>
  <p:notesSz cx="6858000" cy="9144000"/>
  <p:custDataLst>
    <p:tags r:id="rId4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450B"/>
    <a:srgbClr val="263183"/>
    <a:srgbClr val="4A41DA"/>
    <a:srgbClr val="4A42DA"/>
    <a:srgbClr val="6973EE"/>
    <a:srgbClr val="505BE8"/>
    <a:srgbClr val="A20000"/>
    <a:srgbClr val="A40000"/>
    <a:srgbClr val="9E0000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90" d="100"/>
          <a:sy n="90" d="100"/>
        </p:scale>
        <p:origin x="-486" y="-154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2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2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iŝḻiḍe">
            <a:extLst>
              <a:ext uri="{FF2B5EF4-FFF2-40B4-BE49-F238E27FC236}">
                <a16:creationId xmlns="" xmlns:p14="http://schemas.microsoft.com/office/powerpoint/2010/main" xmlns:a16="http://schemas.microsoft.com/office/drawing/2014/main" id="{965C6E71-3A35-4320-AF63-894A39285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9" name="iśḷîḋè">
            <a:extLst>
              <a:ext uri="{FF2B5EF4-FFF2-40B4-BE49-F238E27FC236}">
                <a16:creationId xmlns="" xmlns:p14="http://schemas.microsoft.com/office/powerpoint/2010/main" xmlns:a16="http://schemas.microsoft.com/office/drawing/2014/main" id="{3F7C98E3-BA98-4529-894E-F8EDFED84691}"/>
              </a:ext>
            </a:extLst>
          </p:cNvPr>
          <p:cNvSpPr/>
          <p:nvPr userDrawn="1"/>
        </p:nvSpPr>
        <p:spPr>
          <a:xfrm>
            <a:off x="8159523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0" name="îṧlîďê">
            <a:extLst>
              <a:ext uri="{FF2B5EF4-FFF2-40B4-BE49-F238E27FC236}">
                <a16:creationId xmlns="" xmlns:p14="http://schemas.microsoft.com/office/powerpoint/2010/main" xmlns:a16="http://schemas.microsoft.com/office/drawing/2014/main" id="{03A8097C-38EA-43F6-969A-0BA0766FA310}"/>
              </a:ext>
            </a:extLst>
          </p:cNvPr>
          <p:cNvSpPr/>
          <p:nvPr userDrawn="1"/>
        </p:nvSpPr>
        <p:spPr>
          <a:xfrm>
            <a:off x="7125467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1" name="ïṧḻïḋè">
            <a:extLst>
              <a:ext uri="{FF2B5EF4-FFF2-40B4-BE49-F238E27FC236}">
                <a16:creationId xmlns="" xmlns:p14="http://schemas.microsoft.com/office/powerpoint/2010/main" xmlns:a16="http://schemas.microsoft.com/office/drawing/2014/main" id="{0D96A5A3-7363-439E-A8C3-1BCB6C97CFC0}"/>
              </a:ext>
            </a:extLst>
          </p:cNvPr>
          <p:cNvSpPr/>
          <p:nvPr userDrawn="1"/>
        </p:nvSpPr>
        <p:spPr>
          <a:xfrm>
            <a:off x="6091411" y="0"/>
            <a:ext cx="3789277" cy="6858000"/>
          </a:xfrm>
          <a:custGeom>
            <a:avLst/>
            <a:gdLst>
              <a:gd name="connsiteX0" fmla="*/ 2480808 w 2804986"/>
              <a:gd name="connsiteY0" fmla="*/ 0 h 6858000"/>
              <a:gd name="connsiteX1" fmla="*/ 2804986 w 2804986"/>
              <a:gd name="connsiteY1" fmla="*/ 0 h 6858000"/>
              <a:gd name="connsiteX2" fmla="*/ 324177 w 2804986"/>
              <a:gd name="connsiteY2" fmla="*/ 6858000 h 6858000"/>
              <a:gd name="connsiteX3" fmla="*/ 0 w 28049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4986" h="6858000">
                <a:moveTo>
                  <a:pt x="2480808" y="0"/>
                </a:moveTo>
                <a:lnTo>
                  <a:pt x="2804986" y="0"/>
                </a:lnTo>
                <a:lnTo>
                  <a:pt x="32417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2" name="ïŝḻîḑè">
            <a:extLst>
              <a:ext uri="{FF2B5EF4-FFF2-40B4-BE49-F238E27FC236}">
                <a16:creationId xmlns="" xmlns:p14="http://schemas.microsoft.com/office/powerpoint/2010/main" xmlns:a16="http://schemas.microsoft.com/office/drawing/2014/main" id="{F2F929E6-6FA7-407C-81C1-21D4F5B26789}"/>
              </a:ext>
            </a:extLst>
          </p:cNvPr>
          <p:cNvSpPr/>
          <p:nvPr userDrawn="1"/>
        </p:nvSpPr>
        <p:spPr>
          <a:xfrm>
            <a:off x="10451074" y="1944914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3" name="iṧļídè">
            <a:extLst>
              <a:ext uri="{FF2B5EF4-FFF2-40B4-BE49-F238E27FC236}">
                <a16:creationId xmlns="" xmlns:p14="http://schemas.microsoft.com/office/powerpoint/2010/main" xmlns:a16="http://schemas.microsoft.com/office/drawing/2014/main" id="{4DFB245C-0055-49ED-8E03-5BF27F554A1E}"/>
              </a:ext>
            </a:extLst>
          </p:cNvPr>
          <p:cNvSpPr/>
          <p:nvPr userDrawn="1"/>
        </p:nvSpPr>
        <p:spPr>
          <a:xfrm>
            <a:off x="957943" y="538843"/>
            <a:ext cx="10276114" cy="5780314"/>
          </a:xfrm>
          <a:prstGeom prst="roundRect">
            <a:avLst>
              <a:gd name="adj" fmla="val 6587"/>
            </a:avLst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4" name="ïŝlídé">
            <a:extLst>
              <a:ext uri="{FF2B5EF4-FFF2-40B4-BE49-F238E27FC236}">
                <a16:creationId xmlns="" xmlns:p14="http://schemas.microsoft.com/office/powerpoint/2010/main" xmlns:a16="http://schemas.microsoft.com/office/drawing/2014/main" id="{57BBF5D5-2B3C-4E73-A9E3-6B726B2C8EFA}"/>
              </a:ext>
            </a:extLst>
          </p:cNvPr>
          <p:cNvSpPr/>
          <p:nvPr userDrawn="1"/>
        </p:nvSpPr>
        <p:spPr>
          <a:xfrm>
            <a:off x="0" y="1"/>
            <a:ext cx="1952875" cy="3996253"/>
          </a:xfrm>
          <a:custGeom>
            <a:avLst/>
            <a:gdLst>
              <a:gd name="connsiteX0" fmla="*/ 1514941 w 1952875"/>
              <a:gd name="connsiteY0" fmla="*/ 0 h 3996253"/>
              <a:gd name="connsiteX1" fmla="*/ 1952875 w 1952875"/>
              <a:gd name="connsiteY1" fmla="*/ 0 h 3996253"/>
              <a:gd name="connsiteX2" fmla="*/ 0 w 1952875"/>
              <a:gd name="connsiteY2" fmla="*/ 3996253 h 3996253"/>
              <a:gd name="connsiteX3" fmla="*/ 0 w 1952875"/>
              <a:gd name="connsiteY3" fmla="*/ 3100090 h 3996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2875" h="3996253">
                <a:moveTo>
                  <a:pt x="1514941" y="0"/>
                </a:moveTo>
                <a:lnTo>
                  <a:pt x="1952875" y="0"/>
                </a:lnTo>
                <a:lnTo>
                  <a:pt x="0" y="3996253"/>
                </a:lnTo>
                <a:lnTo>
                  <a:pt x="0" y="310009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95" name="îŝlíḋé">
            <a:extLst>
              <a:ext uri="{FF2B5EF4-FFF2-40B4-BE49-F238E27FC236}">
                <a16:creationId xmlns="" xmlns:p14="http://schemas.microsoft.com/office/powerpoint/2010/main" xmlns:a16="http://schemas.microsoft.com/office/drawing/2014/main" id="{CA0D931B-F81E-4F23-9A55-C983EF0723B8}"/>
              </a:ext>
            </a:extLst>
          </p:cNvPr>
          <p:cNvSpPr/>
          <p:nvPr userDrawn="1"/>
        </p:nvSpPr>
        <p:spPr>
          <a:xfrm>
            <a:off x="475188" y="409888"/>
            <a:ext cx="927337" cy="1001486"/>
          </a:xfrm>
          <a:custGeom>
            <a:avLst/>
            <a:gdLst>
              <a:gd name="connsiteX0" fmla="*/ 362277 w 686455"/>
              <a:gd name="connsiteY0" fmla="*/ 0 h 1001486"/>
              <a:gd name="connsiteX1" fmla="*/ 686455 w 686455"/>
              <a:gd name="connsiteY1" fmla="*/ 0 h 1001486"/>
              <a:gd name="connsiteX2" fmla="*/ 324178 w 686455"/>
              <a:gd name="connsiteY2" fmla="*/ 1001486 h 1001486"/>
              <a:gd name="connsiteX3" fmla="*/ 0 w 686455"/>
              <a:gd name="connsiteY3" fmla="*/ 1001486 h 100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55" h="1001486">
                <a:moveTo>
                  <a:pt x="362277" y="0"/>
                </a:moveTo>
                <a:lnTo>
                  <a:pt x="686455" y="0"/>
                </a:lnTo>
                <a:lnTo>
                  <a:pt x="324178" y="1001486"/>
                </a:lnTo>
                <a:lnTo>
                  <a:pt x="0" y="1001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61909" y="1998127"/>
            <a:ext cx="7539502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kumimoji="0" lang="en-US" sz="1600" b="1" i="0" u="none" strike="noStrike" cap="none" spc="300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342900" marR="0" lvl="0" indent="-342900" algn="ctr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991647" y="2720158"/>
            <a:ext cx="10276114" cy="1405050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ctr">
              <a:defRPr kumimoji="0" lang="zh-CN" altLang="en-US" sz="48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Black" panose="020B0A04020102020204" pitchFamily="34" charset="0"/>
                <a:ea typeface="微软雅黑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159196" y="5104179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en-US" altLang="zh-CN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159196" y="5400450"/>
            <a:ext cx="5873609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kumimoji="0" lang="zh-CN" altLang="en-US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9" marR="0" lvl="0" indent="-228589" algn="ctr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97" name="组合 196">
            <a:extLst>
              <a:ext uri="{FF2B5EF4-FFF2-40B4-BE49-F238E27FC236}">
                <a16:creationId xmlns="" xmlns:p14="http://schemas.microsoft.com/office/powerpoint/2010/main" xmlns:a16="http://schemas.microsoft.com/office/drawing/2014/main" id="{15ACF8F9-44FD-4091-989D-A806F18DB88F}"/>
              </a:ext>
            </a:extLst>
          </p:cNvPr>
          <p:cNvGrpSpPr/>
          <p:nvPr userDrawn="1"/>
        </p:nvGrpSpPr>
        <p:grpSpPr>
          <a:xfrm>
            <a:off x="2281411" y="2423886"/>
            <a:ext cx="7620000" cy="1959429"/>
            <a:chOff x="2281411" y="2423886"/>
            <a:chExt cx="7620000" cy="1959429"/>
          </a:xfrm>
        </p:grpSpPr>
        <p:cxnSp>
          <p:nvCxnSpPr>
            <p:cNvPr id="198" name="直接连接符 197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5697219-2E90-4D98-9529-A9E0964AF136}"/>
                </a:ext>
              </a:extLst>
            </p:cNvPr>
            <p:cNvCxnSpPr/>
            <p:nvPr/>
          </p:nvCxnSpPr>
          <p:spPr>
            <a:xfrm>
              <a:off x="2281411" y="2423886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直接连接符 198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27D7DF9-20DE-491F-992C-042F021B180A}"/>
                </a:ext>
              </a:extLst>
            </p:cNvPr>
            <p:cNvCxnSpPr/>
            <p:nvPr/>
          </p:nvCxnSpPr>
          <p:spPr>
            <a:xfrm>
              <a:off x="2281411" y="4383315"/>
              <a:ext cx="7620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ṡḷïďê">
            <a:extLst>
              <a:ext uri="{FF2B5EF4-FFF2-40B4-BE49-F238E27FC236}">
                <a16:creationId xmlns="" xmlns:p14="http://schemas.microsoft.com/office/powerpoint/2010/main" xmlns:a16="http://schemas.microsoft.com/office/drawing/2014/main" id="{DE504534-601C-4C9C-85E8-3B8EF28EB0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dde2c2de-4721-42d5-ad7a-0e7cc10103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="" xmlns:p14="http://schemas.microsoft.com/office/powerpoint/2010/main" xmlns:a16="http://schemas.microsoft.com/office/drawing/2014/main" id="{2A622CF3-8870-477C-9EED-A9A795AD2B38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987743" y="1092233"/>
            <a:ext cx="10223944" cy="4922092"/>
            <a:chOff x="1071716" y="1247323"/>
            <a:chExt cx="10048568" cy="4837661"/>
          </a:xfrm>
          <a:solidFill>
            <a:schemeClr val="bg1">
              <a:alpha val="64000"/>
            </a:schemeClr>
          </a:solidFill>
        </p:grpSpPr>
        <p:sp>
          <p:nvSpPr>
            <p:cNvPr id="12" name="iṧlï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91F8B10-83B9-4276-BAEE-19BA958ED50F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Sḻï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5A86B82-39D0-482D-BA79-C6693ECB201F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śļi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3EAA3C0-8C00-4B7E-922E-9E80BF1FF84C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ļ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CE4679D-6981-4B0D-949F-C77D47727060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śḻï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C134FC0-0F44-4046-A253-542B215BD910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$1i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83E6593-58C7-45CF-A62F-704BF2AB0770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ŝḷï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33F9753-8D9C-43C2-B23D-3562D8E3FC43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Sḷï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E78F90-3021-447E-97B0-FFADCD22C365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şḻ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74D93F2-C926-4F37-8A68-969D36217418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şļ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5D0311-F6BD-421B-BD6E-606E6FEECE21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$ḷ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7853E26-8C09-48D5-AACD-1675FF7D733F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ṧ1i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FC7C7D3-3D5A-4B25-B8C4-65DFEC339CFF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Sḻ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A499F17-EDE7-4A01-859E-F3ED34209FB3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şļï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FC0A732-DF91-478F-A226-C08335DAC6D8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ṩli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1BFF967-16B4-4465-97EB-3E25E86623AF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217F08F-DBAE-4006-8A03-66D549042577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śḷî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771D347-91AE-4B4C-A3E5-D65185464230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şḻi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6E5D4E5-3736-418D-9570-085F848955E4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ŝ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271C586-03BA-433F-863D-15B3581484F5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ṩľí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E1FC190-E0FC-44DA-804A-1B70A43BE8C3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$1î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B281F0-FC87-4719-9DCF-3017C8B53981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şļi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B11BDB7-0DC5-4CF5-8168-4CDDB0899C86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śľî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C3DEF75-5BAC-470F-9293-65DB0EAB2C25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ṧ1í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CCA40A-109F-4238-A1E1-58BD7B1680B1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ṥḻî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C589202-D1CE-45D5-9272-D5A4D84140BF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š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A5BD41E-74BF-4806-9F4E-E3794450C6F0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śḻí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99CF178-873E-4527-912A-F0F7367A979F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šl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6AEE212-2C0F-45FF-AFDF-2A71F0C2E7C4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šľí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B3D6884-12CE-48FB-BAA1-5E8FD7211384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śli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9C8928C-C17C-4470-BF57-4208B877CE3A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ṣļ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286530D-D7B5-4F59-A08F-A847A471BC88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l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F0EC3E-322F-435F-B921-BF0625DF1B3F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ḻï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98004F8-ED29-4342-B0F9-80D2F33672B3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şlî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554C945-91A5-4164-98DE-D90D922C9C36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š1í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B607F43-0725-4A01-840E-AF379AA267B9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ŝḷí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4371196-FB14-4E31-AD02-09A00F6FEF5C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ṣḻ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EF5DCED-C60C-4825-B759-24B9BC0C178A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ṥ1î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CD0C3CD-19EA-41B2-AAAA-1E71980482B1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1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6119F9-D4CF-4774-B7DB-64FDA191D94B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ḷi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E7E2E0D-AB54-4ACC-9A3D-7668B9200023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şļî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BE6C765-C9AA-4F78-8E54-07D1A4756291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ŝľî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DF16C1E-FF08-4506-A8A6-3F91E2AF8A58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s1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476085B-F23B-4E43-AD64-6F2040DBCCC0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ṧľî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16BBD75-4C62-4AEB-8F6A-C7BDEABD897C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sl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31E4A56-C9F0-4A5E-A837-64DB11503066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ṥľ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5391F79-347F-4703-8D78-A3AF60C7FAC8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ṡļ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0B2E5B5-2C0A-4DFB-9F93-E3A889EB80B0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šḷî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724AABF-1B1B-40F0-A0A1-C12C425849F0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şľí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5257EFD-F01B-4908-A6A0-8CD92FA7A7CD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î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F6BD9A7-42A6-438C-AB75-9F6E2487654B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šļî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CDF1E2-815F-4114-9180-CEA9A2C68680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śḻi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AC1C3EC-98C2-44C6-BD19-A0888605F03A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ś1î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572E3C-9BDF-4868-87EB-48A0E0620BC3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şlï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EA33E05-17F6-4BEA-9181-A0C3788CBFB6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i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C360081-6648-4B77-A18E-4DDF72E46B00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ŝlî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5FEC11A-218E-4C2A-90F9-C8803C43E18A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ṡļ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6FA9890-11A2-4F95-A711-F43FC5389616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ś1i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C28A2E-2F3D-49D8-AEE9-012B2A0C1AE9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š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555090D-8483-4166-8A7F-EF392C5F23FA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şľí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1FF9CC3-B1D1-4023-8D77-5B0521C6472D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şḻ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74ADA82-E7CA-4CB4-9DC7-165D99591ACC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sḻi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0EE81C5-A223-45AF-9DDE-BFB9E557B615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Sľî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F0F42ED-3F48-4ECA-BB6E-1153E157B0F5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sḷ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359BDA6-8C8F-4517-948B-8A13D6F52B9D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ṡ1i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60FB713-F1A8-4858-BF64-7D3114261159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ṧ1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D329FF6-8679-44A3-8636-FF8B3625E482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šḷ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E5382E5-0F88-4E80-BCBD-5FA251E05BBC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slí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95FF3B2-3D26-4220-A4B6-B1B8D6A0B25C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F263E55-A643-4934-B6F1-8809CBCD73D2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1í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4457F3C-0191-4467-9DEF-C33DA91672AF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ş1î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83649E8-92C6-4693-ABE1-ABBE0DB43E38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ṣļ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907BBE4-E083-4BA0-ABC6-1E01554069D2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ḻí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CBF2A49-2C1F-48B1-A3CB-358BF0E72CDF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ṥlî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B815E91-A71D-4B4B-B49E-7CEDADCF226A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$ļ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AFCAA0E-B48A-4B65-8E05-0F931F871906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ṡ1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229569A-857D-4F9A-91C2-758F9FB47AC8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ľ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A4B3A84-E984-4ED3-8D80-89D5DFBDD5D2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ŝ1i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A47F24B-4ACD-4AE6-AA82-47680C59C1E9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ḻí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96E3B79-20E0-4F1F-B9A8-59F3C99051F5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ḷ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5A03DB9-4032-4B1A-9453-CE4BB583FA57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$ļï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8EC5492-C516-4B8B-A675-BCF8B10D9DB6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ṧḻ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09E406E-9FC4-4BAB-89BF-AB7D88727453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ṣlï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07B174A-74D5-43C0-B192-B7D74E7666DE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ŝľ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F03429A-CCD5-4CBE-8E09-5E30B97F4DC0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šlï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26BE4E6-9FB7-4DC8-A2BC-5C65A2952832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$ḻï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0BDFED1-4E77-43FB-89C4-55C62F72C721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S1î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4906690-F5F1-4971-9439-7E68E539ED96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ṩḻi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FEE6E9F-C193-4C28-B6C2-0893740F3602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Sḷ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460EA5E-BD5F-4E28-85CC-E1934AEE8D2D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şḷ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26460C8-A83E-4D5D-BBA8-D0383C3498E1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ṩ1í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C081CF7-68EE-457F-9056-97344E931F1B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ṥli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4F394E0-8DEF-4EEC-8920-22DEB299ADF1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ṥ1í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1BD52943-D120-4A10-8B9F-748224A108D1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ḻ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824C1B0-A2D0-42FE-8EF0-EE5AF90196F0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ṡlï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D1C80F0-D44B-496D-B255-755F711A3354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1i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76B6E19-6CAD-4713-B6FA-95D6A9EDCBC2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şl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056C68F-9978-409C-A6E2-D6CC91EB3B35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ş1i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C804A7-A680-43FA-9A02-53BA97E175F4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ŝḻîḋ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EBAEDB5-8AEE-486E-99EE-E91DDEF52B2D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ṡļí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3E8C13C-7ECE-4FC7-9598-40707A6FC8C2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ḷ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EA79E5C-B6D5-4EA2-A600-08A2675C5F06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ślï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EBD2D99-4087-413C-AF36-050ADAB78755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sļí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7405B08-41EC-469F-9449-89A8044883A7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ŝḷï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99FA2FE-FE32-422E-B93C-7E4004E4575B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ṧl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B008F81-1E1F-4F79-BF7A-A2446476736E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ṣľíḍ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87E3958-C577-414D-A8D1-C28E02B223C1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ṩlî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3E8AD52-6AD7-4495-9B1D-62531F4A6526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ślï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A6378EA-6577-4684-96DA-C9668868FA8A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ṥḷîḓ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64982FF-C13B-4AA3-8F43-7587357DC00B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ṣļ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B002FA2-2E97-4152-A87D-333528B614D3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ṧ1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161C785-1873-4ABB-9AF8-62E882920260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śļ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23DA1AE-1979-46E1-AF1E-057332CE50FC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ş1î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9718D3B-CFD6-4F57-812C-4ABC81D98672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ḻ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C0664E3D-0464-4BBC-BC4D-208B97592BDA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sḷî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EB2ED1A-30E9-48D7-9B48-6BC9F04F26DF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šlíḍ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2057FEF-65BE-4F0F-9208-4EDD8A183099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lí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6686EC9-86FF-430C-A52E-0804B1DDB75D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Sḻî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A5F879C-E5C2-4583-B4C2-A47C153C9FD0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ṡ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C00E52A-9029-4715-A112-8025AEF11F30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ļí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89B34769-F6CB-4465-9C83-3AD93BDBD1E1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şḷïd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CE87F57-457C-472E-8B4C-B636AE46786F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$ľi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30F839E-6420-4392-8D6F-8B4CF356AD78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ṩļíḑ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AA489A3-EFEB-4079-AE71-45AC7C575BF8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ṥl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4033BFF-3B20-421F-8776-EA2AC75E7E8A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śḻ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CEE2015-1CC7-48E3-ACD4-B20E80419601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šḷiḋ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B5157375-5A3A-44A6-98A6-4FC39C2F8207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ṣ1iḓ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D029572-46BF-49E7-A2F2-76CDEF95DC6B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ṥ1i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456F6FF-1CFA-4CCB-A6CC-0D5A04D411DD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ṥľîḍ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A90D5CE-43A0-4137-A3E0-D1925258027D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Sḻ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146FAE0-99D6-420D-941B-2C89104E1CBF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Sļ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4793A90-FB0E-402B-A725-3FBDD5508922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š1íḑ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775251A-34CE-45DA-8D3F-AE45259AC490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ṧḷî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94C751BC-967B-407F-98B1-7E0AB45C951F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šlí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3DC2FA9-FAC3-445C-900F-8F9E9CFBD737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ïŝľ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B3AF95C-CF50-44F1-8C6E-F3CA1118D85F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Sḷíd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DB65167-5853-43DB-90A5-8BC17BD0D0CE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śļ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62DC7EF6-603F-497A-87B5-D678828295EE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ṣḻíḍ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FF5B9C4-BB26-40CE-A0FE-C7B483A6BAA1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sľîḓ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3904183-A97B-4C24-895E-1B94A4E6846D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ṥ1îd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98A2AFE-37D8-49A4-B8AC-93A4A0487020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ŝľï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24483D0-039C-4FA1-BB44-5E529D83AF0D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ŝḷi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6889101-5126-4680-926E-B5E36AA201C9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śḻiď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3A865D0-2ABA-42FB-9BBA-C464CA520317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64" name="组合 163">
            <a:extLst>
              <a:ext uri="{FF2B5EF4-FFF2-40B4-BE49-F238E27FC236}">
                <a16:creationId xmlns="" xmlns:p14="http://schemas.microsoft.com/office/powerpoint/2010/main" xmlns:a16="http://schemas.microsoft.com/office/drawing/2014/main" id="{7F7A6B49-F4EF-49AD-B287-19DCC3450A41}"/>
              </a:ext>
            </a:extLst>
          </p:cNvPr>
          <p:cNvGrpSpPr/>
          <p:nvPr userDrawn="1"/>
        </p:nvGrpSpPr>
        <p:grpSpPr>
          <a:xfrm flipH="1">
            <a:off x="0" y="0"/>
            <a:ext cx="4509144" cy="6858000"/>
            <a:chOff x="5317129" y="0"/>
            <a:chExt cx="6874871" cy="6858000"/>
          </a:xfrm>
        </p:grpSpPr>
        <p:sp>
          <p:nvSpPr>
            <p:cNvPr id="165" name="iṩlï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FFDA2B9E-7E1F-4840-B732-50A95B49B8F2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blipFill>
              <a:blip r:embed="rId3"/>
              <a:stretch>
                <a:fillRect l="-39842" r="-39644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6" name="ïṧľîď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5AA78695-4AAB-4791-AC6E-2E8DD33BF9D7}"/>
                </a:ext>
              </a:extLst>
            </p:cNvPr>
            <p:cNvSpPr/>
            <p:nvPr userDrawn="1"/>
          </p:nvSpPr>
          <p:spPr>
            <a:xfrm>
              <a:off x="7097453" y="0"/>
              <a:ext cx="5094547" cy="6858000"/>
            </a:xfrm>
            <a:custGeom>
              <a:avLst/>
              <a:gdLst>
                <a:gd name="connsiteX0" fmla="*/ 2401360 w 5094547"/>
                <a:gd name="connsiteY0" fmla="*/ 0 h 6858000"/>
                <a:gd name="connsiteX1" fmla="*/ 5094547 w 5094547"/>
                <a:gd name="connsiteY1" fmla="*/ 0 h 6858000"/>
                <a:gd name="connsiteX2" fmla="*/ 5094547 w 5094547"/>
                <a:gd name="connsiteY2" fmla="*/ 6858000 h 6858000"/>
                <a:gd name="connsiteX3" fmla="*/ 0 w 5094547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4547" h="6858000">
                  <a:moveTo>
                    <a:pt x="2401360" y="0"/>
                  </a:moveTo>
                  <a:lnTo>
                    <a:pt x="5094547" y="0"/>
                  </a:lnTo>
                  <a:lnTo>
                    <a:pt x="509454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accent1">
                <a:alpha val="8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7" name="îṡlíḑ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2523AC05-4DD2-4076-BD97-874CE03AF8EB}"/>
                </a:ext>
              </a:extLst>
            </p:cNvPr>
            <p:cNvSpPr/>
            <p:nvPr userDrawn="1"/>
          </p:nvSpPr>
          <p:spPr>
            <a:xfrm>
              <a:off x="6848035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8" name="ïṣļíḋ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F7DD772-2765-436B-91FF-B8FF582ECA8A}"/>
                </a:ext>
              </a:extLst>
            </p:cNvPr>
            <p:cNvSpPr/>
            <p:nvPr userDrawn="1"/>
          </p:nvSpPr>
          <p:spPr>
            <a:xfrm>
              <a:off x="6082582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9" name="ïṣļiḓ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03CB3A7-366A-42E8-96DD-22952ED4DA32}"/>
                </a:ext>
              </a:extLst>
            </p:cNvPr>
            <p:cNvSpPr/>
            <p:nvPr userDrawn="1"/>
          </p:nvSpPr>
          <p:spPr>
            <a:xfrm>
              <a:off x="5317129" y="0"/>
              <a:ext cx="2804986" cy="6858000"/>
            </a:xfrm>
            <a:custGeom>
              <a:avLst/>
              <a:gdLst>
                <a:gd name="connsiteX0" fmla="*/ 2480808 w 2804986"/>
                <a:gd name="connsiteY0" fmla="*/ 0 h 6858000"/>
                <a:gd name="connsiteX1" fmla="*/ 2804986 w 2804986"/>
                <a:gd name="connsiteY1" fmla="*/ 0 h 6858000"/>
                <a:gd name="connsiteX2" fmla="*/ 324177 w 2804986"/>
                <a:gd name="connsiteY2" fmla="*/ 6858000 h 6858000"/>
                <a:gd name="connsiteX3" fmla="*/ 0 w 2804986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4986" h="6858000">
                  <a:moveTo>
                    <a:pt x="2480808" y="0"/>
                  </a:moveTo>
                  <a:lnTo>
                    <a:pt x="2804986" y="0"/>
                  </a:lnTo>
                  <a:lnTo>
                    <a:pt x="324177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0" name="íṩļïḑé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384CC984-D7A4-4D39-8637-68BE63FA49E1}"/>
                </a:ext>
              </a:extLst>
            </p:cNvPr>
            <p:cNvSpPr/>
            <p:nvPr userDrawn="1"/>
          </p:nvSpPr>
          <p:spPr>
            <a:xfrm>
              <a:off x="8544340" y="1944914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1" name="ïś1iď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EB03D3C9-9D10-4622-A0A2-4F1EC48E9AAD}"/>
                </a:ext>
              </a:extLst>
            </p:cNvPr>
            <p:cNvSpPr/>
            <p:nvPr userDrawn="1"/>
          </p:nvSpPr>
          <p:spPr>
            <a:xfrm>
              <a:off x="6178639" y="3962399"/>
              <a:ext cx="686455" cy="1001486"/>
            </a:xfrm>
            <a:custGeom>
              <a:avLst/>
              <a:gdLst>
                <a:gd name="connsiteX0" fmla="*/ 362277 w 686455"/>
                <a:gd name="connsiteY0" fmla="*/ 0 h 1001486"/>
                <a:gd name="connsiteX1" fmla="*/ 686455 w 686455"/>
                <a:gd name="connsiteY1" fmla="*/ 0 h 1001486"/>
                <a:gd name="connsiteX2" fmla="*/ 324178 w 686455"/>
                <a:gd name="connsiteY2" fmla="*/ 1001486 h 1001486"/>
                <a:gd name="connsiteX3" fmla="*/ 0 w 686455"/>
                <a:gd name="connsiteY3" fmla="*/ 1001486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455" h="1001486">
                  <a:moveTo>
                    <a:pt x="362277" y="0"/>
                  </a:moveTo>
                  <a:lnTo>
                    <a:pt x="686455" y="0"/>
                  </a:lnTo>
                  <a:lnTo>
                    <a:pt x="324178" y="1001486"/>
                  </a:lnTo>
                  <a:lnTo>
                    <a:pt x="0" y="100148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p14="http://schemas.microsoft.com/office/powerpoint/2010/main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p14="http://schemas.microsoft.com/office/powerpoint/2010/main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p14="http://schemas.microsoft.com/office/powerpoint/2010/main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p14="http://schemas.microsoft.com/office/powerpoint/2010/main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p14="http://schemas.microsoft.com/office/powerpoint/2010/main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í$ľiḋe">
            <a:extLst>
              <a:ext uri="{FF2B5EF4-FFF2-40B4-BE49-F238E27FC236}">
                <a16:creationId xmlns="" xmlns:p14="http://schemas.microsoft.com/office/powerpoint/2010/main" xmlns:a16="http://schemas.microsoft.com/office/drawing/2014/main" id="{95F0ECDF-C88B-4D19-AE25-E5B247F74D9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16666" b="-166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iśľîḍê">
            <a:extLst>
              <a:ext uri="{FF2B5EF4-FFF2-40B4-BE49-F238E27FC236}">
                <a16:creationId xmlns="" xmlns:p14="http://schemas.microsoft.com/office/powerpoint/2010/main" xmlns:a16="http://schemas.microsoft.com/office/drawing/2014/main" id="{FD47779C-4100-4062-915A-658989B23E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4551" y="2367819"/>
            <a:ext cx="54228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4551" y="4786452"/>
            <a:ext cx="5422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="" xmlns:p14="http://schemas.microsoft.com/office/powerpoint/2010/main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4551" y="4490181"/>
            <a:ext cx="54228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2/22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a16="http://schemas.microsoft.com/office/drawing/2014/main" xmlns:p14="http://schemas.microsoft.com/office/powerpoint/2010/main"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colah.github.io/posts/2015-08-Understanding-LSTMs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9.jpeg"/><Relationship Id="rId4" Type="http://schemas.openxmlformats.org/officeDocument/2006/relationships/hyperlink" Target="https://en.wikipedia.org/wiki/Gated_recurrent_unit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2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2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tensorflow.google.cn/tutorials/text/transformer#create_the_transformer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1íd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ŝļíde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ď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ṥḻîdè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altLang="zh-CN" dirty="0"/>
              <a:t>Transformer</a:t>
            </a:r>
          </a:p>
        </p:txBody>
      </p:sp>
      <p:sp>
        <p:nvSpPr>
          <p:cNvPr id="4" name="i$ḻïḑe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5400" dirty="0"/>
              <a:t>Transformer </a:t>
            </a:r>
            <a:r>
              <a:rPr lang="zh-TW" altLang="en-US" sz="5400" dirty="0"/>
              <a:t>模型 簡介</a:t>
            </a:r>
            <a:endParaRPr lang="zh-CN" altLang="en-US" dirty="0">
              <a:latin typeface="Arial"/>
            </a:endParaRPr>
          </a:p>
        </p:txBody>
      </p:sp>
      <p:sp>
        <p:nvSpPr>
          <p:cNvPr id="6" name="isḷiḑé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,</a:t>
            </a:r>
            <a:r>
              <a:rPr lang="zh-TW" altLang="en-US" dirty="0"/>
              <a:t>王家祥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Encoder </a:t>
            </a:r>
            <a:r>
              <a:rPr lang="zh-TW" altLang="en-US" dirty="0"/>
              <a:t>把處理完每個詞彙所產生的向量都交給 </a:t>
            </a:r>
            <a:r>
              <a:rPr lang="en-US" altLang="zh-TW" dirty="0"/>
              <a:t>Decoder </a:t>
            </a:r>
            <a:r>
              <a:rPr lang="zh-TW" altLang="en-US" dirty="0"/>
              <a:t>了。且透過注意力機制，</a:t>
            </a:r>
            <a:r>
              <a:rPr lang="en-US" altLang="zh-TW" dirty="0"/>
              <a:t>Decoder </a:t>
            </a:r>
            <a:r>
              <a:rPr lang="zh-TW" altLang="en-US" dirty="0"/>
              <a:t>在生成新序列的每個元素時都能**動態地**考慮自己要看哪些 </a:t>
            </a:r>
            <a:r>
              <a:rPr lang="en-US" altLang="zh-TW" dirty="0"/>
              <a:t>Encoder </a:t>
            </a:r>
            <a:r>
              <a:rPr lang="zh-TW" altLang="en-US" dirty="0"/>
              <a:t>的向量（還有決定從中該擷取多少資訊）</a:t>
            </a:r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995" y="2037132"/>
            <a:ext cx="7877638" cy="34811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730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既然是深度學習，</a:t>
            </a:r>
            <a:r>
              <a:rPr lang="en-US" altLang="zh-TW" dirty="0"/>
              <a:t>Encoder / Decoder </a:t>
            </a:r>
            <a:r>
              <a:rPr lang="zh-TW" altLang="en-US" dirty="0"/>
              <a:t>一般來說都是由多個 </a:t>
            </a:r>
            <a:r>
              <a:rPr lang="en-US" altLang="zh-TW" dirty="0">
                <a:hlinkClick r:id="rId3"/>
              </a:rPr>
              <a:t>LSTM</a:t>
            </a:r>
            <a:r>
              <a:rPr lang="zh-TW" altLang="en-US" dirty="0"/>
              <a:t> </a:t>
            </a:r>
            <a:r>
              <a:rPr lang="en-US" altLang="zh-TW" dirty="0"/>
              <a:t>/ </a:t>
            </a:r>
            <a:r>
              <a:rPr lang="en-US" altLang="zh-TW" dirty="0">
                <a:hlinkClick r:id="rId4"/>
              </a:rPr>
              <a:t>GRU</a:t>
            </a:r>
            <a:r>
              <a:rPr lang="zh-TW" altLang="en-US" dirty="0"/>
              <a:t> 等 </a:t>
            </a:r>
            <a:r>
              <a:rPr lang="en-US" altLang="zh-TW" dirty="0"/>
              <a:t>RNN Layers </a:t>
            </a:r>
            <a:r>
              <a:rPr lang="zh-TW" altLang="en-US" dirty="0"/>
              <a:t>所疊起來的。而注意力機制在這種情境下實際的運作方式如下</a:t>
            </a:r>
            <a:r>
              <a:rPr lang="zh-TW" altLang="en-US" dirty="0" smtClean="0"/>
              <a:t>：</a:t>
            </a:r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zh-TW" altLang="en-US" dirty="0"/>
              <a:t>英翻法情境下，</a:t>
            </a:r>
            <a:r>
              <a:rPr lang="en-US" altLang="zh-TW" dirty="0"/>
              <a:t>Decoder </a:t>
            </a:r>
            <a:r>
              <a:rPr lang="zh-TW" altLang="en-US" dirty="0"/>
              <a:t>在第一個時間點進行的注意力機制</a:t>
            </a:r>
            <a:r>
              <a:rPr lang="en-US" altLang="zh-TW" dirty="0"/>
              <a:t>, </a:t>
            </a:r>
            <a:r>
              <a:rPr lang="zh-TW" altLang="en-US" dirty="0"/>
              <a:t>左右兩邊分別是 </a:t>
            </a:r>
            <a:r>
              <a:rPr lang="en-US" altLang="zh-TW" dirty="0"/>
              <a:t>Encoder </a:t>
            </a:r>
            <a:r>
              <a:rPr lang="zh-TW" altLang="en-US" dirty="0"/>
              <a:t>與 </a:t>
            </a:r>
            <a:r>
              <a:rPr lang="en-US" altLang="zh-TW" dirty="0"/>
              <a:t>Decoder </a:t>
            </a:r>
            <a:r>
              <a:rPr lang="zh-TW" altLang="en-US" dirty="0"/>
              <a:t>，縱軸則是多層的神經網路區塊 </a:t>
            </a:r>
            <a:r>
              <a:rPr lang="en-US" altLang="zh-TW" dirty="0"/>
              <a:t>/ </a:t>
            </a:r>
            <a:r>
              <a:rPr lang="zh-TW" altLang="en-US" dirty="0"/>
              <a:t>層。</a:t>
            </a:r>
            <a:endParaRPr lang="en-US" altLang="zh-TW" dirty="0"/>
          </a:p>
          <a:p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921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1786" y="1664158"/>
            <a:ext cx="5645888" cy="3850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25194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642641"/>
          </a:xfrm>
        </p:spPr>
        <p:txBody>
          <a:bodyPr/>
          <a:lstStyle/>
          <a:p>
            <a:r>
              <a:rPr lang="zh-TW" altLang="en-US" dirty="0"/>
              <a:t>注意力機制實際的計算步驟。在 </a:t>
            </a:r>
            <a:r>
              <a:rPr lang="en-US" altLang="zh-TW" dirty="0"/>
              <a:t>Decoder </a:t>
            </a:r>
            <a:r>
              <a:rPr lang="zh-TW" altLang="en-US" dirty="0"/>
              <a:t>的每個時間點，我們都會進行注意力機制以讓 </a:t>
            </a:r>
            <a:r>
              <a:rPr lang="en-US" altLang="zh-TW" dirty="0"/>
              <a:t>Decoder </a:t>
            </a:r>
            <a:r>
              <a:rPr lang="zh-TW" altLang="en-US" dirty="0"/>
              <a:t>從 </a:t>
            </a:r>
            <a:r>
              <a:rPr lang="en-US" altLang="zh-TW" dirty="0"/>
              <a:t>Encoder </a:t>
            </a:r>
            <a:r>
              <a:rPr lang="zh-TW" altLang="en-US" dirty="0"/>
              <a:t>取得語境資訊</a:t>
            </a:r>
          </a:p>
          <a:p>
            <a:endParaRPr lang="zh-TW" altLang="en-US" dirty="0"/>
          </a:p>
          <a:p>
            <a:pPr lvl="1"/>
            <a:r>
              <a:rPr lang="en-US" altLang="zh-TW" dirty="0"/>
              <a:t>1. </a:t>
            </a:r>
            <a:r>
              <a:rPr lang="zh-TW" altLang="en-US" dirty="0"/>
              <a:t>拿 </a:t>
            </a:r>
            <a:r>
              <a:rPr lang="en-US" altLang="zh-TW" dirty="0"/>
              <a:t>Decoder </a:t>
            </a:r>
            <a:r>
              <a:rPr lang="zh-TW" altLang="en-US" dirty="0"/>
              <a:t>當下的紅色隱狀態向量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跟 </a:t>
            </a:r>
            <a:r>
              <a:rPr lang="en-US" altLang="zh-TW" dirty="0"/>
              <a:t>Encoder </a:t>
            </a:r>
            <a:r>
              <a:rPr lang="zh-TW" altLang="en-US" dirty="0"/>
              <a:t>所有藍色隱狀態向量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做比較，利用 </a:t>
            </a:r>
            <a:r>
              <a:rPr lang="en-US" altLang="zh-TW" dirty="0"/>
              <a:t>`score` </a:t>
            </a:r>
            <a:r>
              <a:rPr lang="zh-TW" altLang="en-US" dirty="0"/>
              <a:t>函式計算出 </a:t>
            </a:r>
            <a:r>
              <a:rPr lang="en-US" altLang="zh-TW" dirty="0"/>
              <a:t>`</a:t>
            </a:r>
            <a:r>
              <a:rPr lang="en-US" altLang="zh-TW" dirty="0" err="1"/>
              <a:t>ht</a:t>
            </a:r>
            <a:r>
              <a:rPr lang="en-US" altLang="zh-TW" dirty="0"/>
              <a:t>` </a:t>
            </a:r>
            <a:r>
              <a:rPr lang="zh-TW" altLang="en-US" dirty="0"/>
              <a:t>對每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的注意程度</a:t>
            </a:r>
          </a:p>
          <a:p>
            <a:pPr lvl="1"/>
            <a:r>
              <a:rPr lang="en-US" altLang="zh-TW" dirty="0"/>
              <a:t>2. </a:t>
            </a:r>
            <a:r>
              <a:rPr lang="zh-TW" altLang="en-US" dirty="0"/>
              <a:t>以此注意程度為權重，**加權平均**所有 </a:t>
            </a:r>
            <a:r>
              <a:rPr lang="en-US" altLang="zh-TW" dirty="0"/>
              <a:t>Encoder </a:t>
            </a:r>
            <a:r>
              <a:rPr lang="zh-TW" altLang="en-US" dirty="0"/>
              <a:t>隱狀態 </a:t>
            </a:r>
            <a:r>
              <a:rPr lang="en-US" altLang="zh-TW" dirty="0"/>
              <a:t>`</a:t>
            </a:r>
            <a:r>
              <a:rPr lang="en-US" altLang="zh-TW" dirty="0" err="1"/>
              <a:t>hs`</a:t>
            </a:r>
            <a:r>
              <a:rPr lang="en-US" altLang="zh-TW" dirty="0"/>
              <a:t> </a:t>
            </a:r>
            <a:r>
              <a:rPr lang="zh-TW" altLang="en-US" dirty="0"/>
              <a:t>以取得上下文向量 </a:t>
            </a:r>
            <a:r>
              <a:rPr lang="en-US" altLang="zh-TW" dirty="0"/>
              <a:t>`context vector`</a:t>
            </a:r>
          </a:p>
          <a:p>
            <a:pPr lvl="1"/>
            <a:r>
              <a:rPr lang="en-US" altLang="zh-TW" dirty="0"/>
              <a:t>3. </a:t>
            </a:r>
            <a:r>
              <a:rPr lang="zh-TW" altLang="en-US" dirty="0"/>
              <a:t>將此上下文向量與 </a:t>
            </a:r>
            <a:r>
              <a:rPr lang="en-US" altLang="zh-TW" dirty="0"/>
              <a:t>Decoder </a:t>
            </a:r>
            <a:r>
              <a:rPr lang="zh-TW" altLang="en-US" dirty="0"/>
              <a:t>隱狀態結合成一個注意向量 </a:t>
            </a:r>
            <a:r>
              <a:rPr lang="en-US" altLang="zh-TW" dirty="0"/>
              <a:t>`attention vector` </a:t>
            </a:r>
            <a:r>
              <a:rPr lang="zh-TW" altLang="en-US" dirty="0"/>
              <a:t>並作為該時間的輸出</a:t>
            </a:r>
          </a:p>
          <a:p>
            <a:pPr lvl="1"/>
            <a:r>
              <a:rPr lang="en-US" altLang="zh-TW" dirty="0"/>
              <a:t>4. </a:t>
            </a:r>
            <a:r>
              <a:rPr lang="zh-TW" altLang="en-US" dirty="0"/>
              <a:t>該注意向量會作為 </a:t>
            </a:r>
            <a:r>
              <a:rPr lang="en-US" altLang="zh-TW" dirty="0"/>
              <a:t>Decoder </a:t>
            </a:r>
            <a:r>
              <a:rPr lang="zh-TW" altLang="en-US" dirty="0"/>
              <a:t>下個時間點的</a:t>
            </a:r>
            <a:r>
              <a:rPr lang="zh-TW" altLang="en-US" dirty="0" smtClean="0"/>
              <a:t>輸入</a:t>
            </a: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 smtClean="0"/>
          </a:p>
          <a:p>
            <a:pPr marL="457177" lvl="1" indent="0">
              <a:buNone/>
            </a:pPr>
            <a:endParaRPr lang="en-US" altLang="zh-TW" dirty="0"/>
          </a:p>
          <a:p>
            <a:pPr marL="457177" lvl="1" indent="0">
              <a:buNone/>
            </a:pPr>
            <a:endParaRPr lang="en-US" altLang="zh-TW" dirty="0"/>
          </a:p>
          <a:p>
            <a:pPr lvl="1"/>
            <a:r>
              <a:rPr lang="zh-TW" altLang="en-US" dirty="0"/>
              <a:t>所以稱為注意權重（</a:t>
            </a:r>
            <a:r>
              <a:rPr lang="en-US" altLang="zh-TW" dirty="0"/>
              <a:t>attention weights</a:t>
            </a:r>
            <a:r>
              <a:rPr lang="zh-TW" altLang="en-US" dirty="0"/>
              <a:t>），是因為注意力機制可以被視為是一個學習來源語言和目標語言**每一個單詞之間關係**的小型神經網路，而這些權重是該神經網路的參數。</a:t>
            </a:r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en-US" altLang="zh-TW" dirty="0"/>
          </a:p>
          <a:p>
            <a:pPr lvl="1"/>
            <a:endParaRPr lang="en-US" altLang="zh-TW" dirty="0" smtClean="0"/>
          </a:p>
          <a:p>
            <a:pPr lvl="1"/>
            <a:endParaRPr lang="zh-TW" altLang="en-US" dirty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10242" name="Picture 2" descr="E:\Delete\git_r\two_month_report\202011_2021_1\11_31_to_12_4_fifth\img\attention-equatio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13" y="3894655"/>
            <a:ext cx="10382251" cy="207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0729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CN" dirty="0" smtClean="0"/>
              <a:t>Transformer Model</a:t>
            </a:r>
            <a:endParaRPr lang="zh-CN" altLang="en-US" dirty="0"/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smtClean="0"/>
              <a:t>When</a:t>
            </a:r>
            <a:r>
              <a:rPr lang="en-US" altLang="zh-CN" sz="100" smtClean="0"/>
              <a:t> </a:t>
            </a:r>
            <a:r>
              <a:rPr lang="en-US" altLang="zh-CN" smtClean="0"/>
              <a:t> </a:t>
            </a:r>
            <a:r>
              <a:rPr lang="en-US" altLang="zh-CN" dirty="0"/>
              <a:t>you copy &amp; paste, choose "keep text only" option.</a:t>
            </a:r>
            <a:endParaRPr lang="zh-CN" altLang="en-US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682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/>
              <a:t>Seq2Seq </a:t>
            </a:r>
            <a:r>
              <a:rPr lang="zh-TW" altLang="en-US" b="1" dirty="0"/>
              <a:t>模型 </a:t>
            </a:r>
            <a:r>
              <a:rPr lang="en-US" altLang="zh-TW" b="1" dirty="0"/>
              <a:t>+ </a:t>
            </a:r>
            <a:r>
              <a:rPr lang="zh-TW" altLang="en-US" b="1" dirty="0"/>
              <a:t>自注意力機制</a:t>
            </a:r>
          </a:p>
          <a:p>
            <a:r>
              <a:rPr lang="zh-TW" altLang="en-US" dirty="0"/>
              <a:t>谷歌團隊近期提出的用於生成詞向量的</a:t>
            </a:r>
            <a:r>
              <a:rPr lang="en-US" altLang="zh-TW" dirty="0"/>
              <a:t>BERT</a:t>
            </a:r>
            <a:r>
              <a:rPr lang="zh-TW" altLang="en-US" dirty="0"/>
              <a:t>算法在</a:t>
            </a:r>
            <a:r>
              <a:rPr lang="en-US" altLang="zh-TW" dirty="0"/>
              <a:t>NLP</a:t>
            </a:r>
            <a:r>
              <a:rPr lang="zh-TW" altLang="en-US" dirty="0"/>
              <a:t>的</a:t>
            </a:r>
            <a:r>
              <a:rPr lang="en-US" altLang="zh-TW" dirty="0"/>
              <a:t>11</a:t>
            </a:r>
            <a:r>
              <a:rPr lang="zh-TW" altLang="en-US" dirty="0"/>
              <a:t>項任務中取得了效果的大幅提升，堪稱</a:t>
            </a:r>
            <a:r>
              <a:rPr lang="en-US" altLang="zh-TW" dirty="0"/>
              <a:t>2018</a:t>
            </a:r>
            <a:r>
              <a:rPr lang="zh-TW" altLang="en-US" dirty="0"/>
              <a:t>年深度學習領域最振奮人心的消息。而</a:t>
            </a:r>
            <a:r>
              <a:rPr lang="en-US" altLang="zh-TW" dirty="0"/>
              <a:t>BERT</a:t>
            </a:r>
            <a:r>
              <a:rPr lang="zh-TW" altLang="en-US" dirty="0"/>
              <a:t>算法的最重要的部分便是本文中提出的</a:t>
            </a:r>
            <a:r>
              <a:rPr lang="en-US" altLang="zh-TW" dirty="0"/>
              <a:t>Transformer</a:t>
            </a:r>
            <a:r>
              <a:rPr lang="zh-TW" altLang="en-US" dirty="0"/>
              <a:t>的概念 </a:t>
            </a:r>
            <a:r>
              <a:rPr lang="en-US" altLang="zh-TW" dirty="0"/>
              <a:t>(2014)</a:t>
            </a:r>
          </a:p>
          <a:p>
            <a:r>
              <a:rPr lang="en-US" altLang="zh-TW" dirty="0"/>
              <a:t>Transformer</a:t>
            </a:r>
            <a:r>
              <a:rPr lang="zh-TW" altLang="en-US" dirty="0"/>
              <a:t>中拋棄了傳統的</a:t>
            </a:r>
            <a:r>
              <a:rPr lang="en-US" altLang="zh-TW" dirty="0"/>
              <a:t>CNN</a:t>
            </a:r>
            <a:r>
              <a:rPr lang="zh-TW" altLang="en-US" dirty="0"/>
              <a:t>和</a:t>
            </a:r>
            <a:r>
              <a:rPr lang="en-US" altLang="zh-TW" dirty="0"/>
              <a:t>RNN</a:t>
            </a:r>
            <a:r>
              <a:rPr lang="zh-TW" altLang="en-US" dirty="0"/>
              <a:t>，整個網絡結構完全是由</a:t>
            </a:r>
            <a:r>
              <a:rPr lang="en-US" altLang="zh-TW" dirty="0"/>
              <a:t>Attention</a:t>
            </a:r>
            <a:r>
              <a:rPr lang="zh-TW" altLang="en-US" dirty="0"/>
              <a:t>機制組成。更準確地講，</a:t>
            </a:r>
            <a:r>
              <a:rPr lang="en-US" altLang="zh-TW" dirty="0"/>
              <a:t>Transformer</a:t>
            </a:r>
            <a:r>
              <a:rPr lang="zh-TW" altLang="en-US" dirty="0"/>
              <a:t>僅由</a:t>
            </a:r>
            <a:r>
              <a:rPr lang="en-US" altLang="zh-TW" dirty="0"/>
              <a:t>self-</a:t>
            </a:r>
            <a:r>
              <a:rPr lang="en-US" altLang="zh-TW" dirty="0" err="1"/>
              <a:t>Attenion</a:t>
            </a:r>
            <a:r>
              <a:rPr lang="zh-TW" altLang="en-US" dirty="0"/>
              <a:t>和</a:t>
            </a:r>
            <a:r>
              <a:rPr lang="en-US" altLang="zh-TW" dirty="0"/>
              <a:t>Feed Forward Neural Network</a:t>
            </a:r>
            <a:r>
              <a:rPr lang="zh-TW" altLang="en-US" dirty="0"/>
              <a:t>組成 </a:t>
            </a:r>
          </a:p>
          <a:p>
            <a:r>
              <a:rPr lang="zh-TW" altLang="en-US" dirty="0"/>
              <a:t>以上述機器翻譯為例：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456" y="3593535"/>
            <a:ext cx="8099167" cy="211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1549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的本質上是一個</a:t>
            </a:r>
            <a:r>
              <a:rPr lang="en-US" altLang="zh-TW" dirty="0"/>
              <a:t>Encoder-Decoder</a:t>
            </a:r>
            <a:r>
              <a:rPr lang="zh-TW" altLang="en-US" dirty="0"/>
              <a:t>的</a:t>
            </a:r>
            <a:r>
              <a:rPr lang="zh-TW" altLang="en-US" dirty="0" smtClean="0"/>
              <a:t>結構</a:t>
            </a:r>
            <a:r>
              <a:rPr lang="en-US" altLang="zh-TW" dirty="0" smtClean="0"/>
              <a:t>: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2290" name="Picture 2" descr="E:\Delete\git_r\two_month_report\202011_2021_1\11_31_to_12_4_fifth\img\transformer-encoder_decoder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575" y="1807830"/>
            <a:ext cx="6477000" cy="403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65853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zh-TW" altLang="en-US" dirty="0" smtClean="0"/>
              <a:t>架構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3314" name="Picture 2" descr="E:\Delete\git_r\two_month_report\202011_2021_1\11_31_to_12_4_fifth\img\transformer-encoder_decod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273" y="1782586"/>
            <a:ext cx="6086401" cy="431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088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Encoder 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論文中所設置的，編碼器由</a:t>
            </a:r>
            <a:r>
              <a:rPr lang="en-US" altLang="zh-TW" dirty="0"/>
              <a:t>6</a:t>
            </a:r>
            <a:r>
              <a:rPr lang="zh-TW" altLang="en-US" dirty="0"/>
              <a:t>個編碼</a:t>
            </a:r>
            <a:r>
              <a:rPr lang="en-US" altLang="zh-TW" dirty="0"/>
              <a:t>block</a:t>
            </a:r>
            <a:r>
              <a:rPr lang="zh-TW" altLang="en-US" dirty="0"/>
              <a:t>組成，同樣解碼器是</a:t>
            </a:r>
            <a:r>
              <a:rPr lang="en-US" altLang="zh-TW" dirty="0"/>
              <a:t>6</a:t>
            </a:r>
            <a:r>
              <a:rPr lang="zh-TW" altLang="en-US" dirty="0"/>
              <a:t>個解碼</a:t>
            </a:r>
            <a:r>
              <a:rPr lang="en-US" altLang="zh-TW" dirty="0"/>
              <a:t>block</a:t>
            </a:r>
            <a:r>
              <a:rPr lang="zh-TW" altLang="en-US" dirty="0"/>
              <a:t>組成。與所有的生成模型相同的是，編碼器的輸出會作為解碼器的</a:t>
            </a:r>
            <a:r>
              <a:rPr lang="zh-TW" altLang="en-US" dirty="0" smtClean="0"/>
              <a:t>輸入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4338" name="Picture 2" descr="E:\Delete\git_r\two_month_report\202011_2021_1\11_31_to_12_4_fifth\img\encoder_arch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674" y="1933907"/>
            <a:ext cx="7543800" cy="391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7206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</a:t>
            </a:r>
            <a:r>
              <a:rPr lang="en-US" altLang="zh-TW" dirty="0"/>
              <a:t>- </a:t>
            </a:r>
            <a:r>
              <a:rPr lang="en-US" altLang="zh-TW" dirty="0" smtClean="0"/>
              <a:t>Decoder</a:t>
            </a:r>
            <a:r>
              <a:rPr lang="zh-TW" altLang="en-US" dirty="0"/>
              <a:t>架構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Decoder</a:t>
            </a:r>
            <a:r>
              <a:rPr lang="zh-TW" altLang="en-US" dirty="0"/>
              <a:t>的結構如圖</a:t>
            </a:r>
            <a:r>
              <a:rPr lang="en-US" altLang="zh-TW" dirty="0"/>
              <a:t>5</a:t>
            </a:r>
            <a:r>
              <a:rPr lang="zh-TW" altLang="en-US" dirty="0"/>
              <a:t>所示，它和</a:t>
            </a:r>
            <a:r>
              <a:rPr lang="en-US" altLang="zh-TW" dirty="0"/>
              <a:t>Encoder</a:t>
            </a:r>
            <a:r>
              <a:rPr lang="zh-TW" altLang="en-US" dirty="0"/>
              <a:t>的不同之處在於</a:t>
            </a:r>
            <a:r>
              <a:rPr lang="en-US" altLang="zh-TW" dirty="0"/>
              <a:t>Decoder</a:t>
            </a:r>
            <a:r>
              <a:rPr lang="zh-TW" altLang="en-US" dirty="0"/>
              <a:t>多了一個</a:t>
            </a:r>
            <a:r>
              <a:rPr lang="en-US" altLang="zh-TW" dirty="0"/>
              <a:t>Encoder-Decoder Attention</a:t>
            </a:r>
            <a:r>
              <a:rPr lang="zh-TW" altLang="en-US" dirty="0"/>
              <a:t>，兩個</a:t>
            </a:r>
            <a:r>
              <a:rPr lang="en-US" altLang="zh-TW" dirty="0"/>
              <a:t>Attention</a:t>
            </a:r>
            <a:r>
              <a:rPr lang="zh-TW" altLang="en-US" dirty="0"/>
              <a:t>分別用於計算輸入和輸出的權值</a:t>
            </a:r>
            <a:r>
              <a:rPr lang="zh-TW" altLang="en-US" dirty="0" smtClean="0"/>
              <a:t>：</a:t>
            </a:r>
            <a:endParaRPr lang="zh-TW" altLang="en-US" dirty="0"/>
          </a:p>
          <a:p>
            <a:r>
              <a:rPr lang="en-US" altLang="zh-TW" dirty="0"/>
              <a:t>1. Self-Attention</a:t>
            </a:r>
            <a:r>
              <a:rPr lang="zh-TW" altLang="en-US" dirty="0"/>
              <a:t>：當前翻譯和已經翻譯的前文之間的關系；</a:t>
            </a:r>
          </a:p>
          <a:p>
            <a:r>
              <a:rPr lang="en-US" altLang="zh-TW" dirty="0"/>
              <a:t>2. </a:t>
            </a:r>
            <a:r>
              <a:rPr lang="en-US" altLang="zh-TW" dirty="0" smtClean="0"/>
              <a:t>Encoder-Decoder </a:t>
            </a:r>
            <a:r>
              <a:rPr lang="en-US" altLang="zh-TW" dirty="0"/>
              <a:t>Attention</a:t>
            </a:r>
            <a:r>
              <a:rPr lang="zh-TW" altLang="en-US" dirty="0"/>
              <a:t>：當前翻譯和編碼的特征向量之間的關系。</a:t>
            </a:r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Transformer_decod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726" y="2999046"/>
            <a:ext cx="8372476" cy="2657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46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TW" dirty="0" smtClean="0"/>
              <a:t>Transformer  </a:t>
            </a:r>
            <a:r>
              <a:rPr lang="en-US" altLang="zh-TW" dirty="0"/>
              <a:t>- </a:t>
            </a:r>
            <a:r>
              <a:rPr lang="zh-TW" altLang="en-US" dirty="0"/>
              <a:t>輸入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首先通過</a:t>
            </a:r>
            <a:r>
              <a:rPr lang="en-US" altLang="zh-TW" dirty="0"/>
              <a:t>Word2Vec</a:t>
            </a:r>
            <a:r>
              <a:rPr lang="zh-TW" altLang="en-US" dirty="0"/>
              <a:t>等詞嵌入方法將輸入語料轉化成特征向量</a:t>
            </a:r>
            <a:r>
              <a:rPr lang="en-US" altLang="zh-TW" dirty="0"/>
              <a:t>(</a:t>
            </a:r>
            <a:r>
              <a:rPr lang="zh-TW" altLang="en-US" dirty="0"/>
              <a:t>論文裡長度為</a:t>
            </a:r>
            <a:r>
              <a:rPr lang="en-US" altLang="zh-TW" dirty="0" smtClean="0"/>
              <a:t>512)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在最底層的</a:t>
            </a:r>
            <a:r>
              <a:rPr lang="en-US" altLang="zh-TW" dirty="0"/>
              <a:t>block</a:t>
            </a:r>
            <a:r>
              <a:rPr lang="zh-TW" altLang="en-US" dirty="0"/>
              <a:t>中， 將直接作為</a:t>
            </a:r>
            <a:r>
              <a:rPr lang="en-US" altLang="zh-TW" dirty="0"/>
              <a:t>Transformer</a:t>
            </a:r>
            <a:r>
              <a:rPr lang="zh-TW" altLang="en-US" dirty="0"/>
              <a:t>的輸入，而在其他層中，輸入則是上一個</a:t>
            </a:r>
            <a:r>
              <a:rPr lang="en-US" altLang="zh-TW" dirty="0"/>
              <a:t>block</a:t>
            </a:r>
            <a:r>
              <a:rPr lang="zh-TW" altLang="en-US" dirty="0"/>
              <a:t>的輸出。為了畫圖更簡單，我們使用更簡單的例子來表示接下來的過程</a:t>
            </a:r>
          </a:p>
        </p:txBody>
      </p:sp>
      <p:pic>
        <p:nvPicPr>
          <p:cNvPr id="16386" name="Picture 2" descr="E:\Delete\git_r\two_month_report\202011_2021_1\11_31_to_12_4_fifth\img\transformer-input-word_ve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809" y="1574613"/>
            <a:ext cx="7848600" cy="94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3" descr="E:\Delete\git_r\two_month_report\202011_2021_1\11_31_to_12_4_fifth\img\tensor-go-to-encod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71" y="3381176"/>
            <a:ext cx="5435675" cy="330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936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1i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ṧ1î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="" xmlns:p14="http://schemas.microsoft.com/office/powerpoint/2010/main" xmlns:a16="http://schemas.microsoft.com/office/drawing/2014/main" id="{A759C196-DA28-4241-ABB5-975367026FE9}"/>
              </a:ext>
            </a:extLst>
          </p:cNvPr>
          <p:cNvGrpSpPr>
            <a:grpSpLocks noChangeAspect="1"/>
          </p:cNvGrpSpPr>
          <p:nvPr/>
        </p:nvGrpSpPr>
        <p:grpSpPr>
          <a:xfrm>
            <a:off x="757282" y="1700808"/>
            <a:ext cx="10763205" cy="4083608"/>
            <a:chOff x="1175743" y="1700808"/>
            <a:chExt cx="10344744" cy="4083608"/>
          </a:xfrm>
        </p:grpSpPr>
        <p:sp>
          <p:nvSpPr>
            <p:cNvPr id="7" name="í$ļïḋ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48F70259-7598-4270-874A-6F50772D10F6}"/>
                </a:ext>
              </a:extLst>
            </p:cNvPr>
            <p:cNvSpPr txBox="1"/>
            <p:nvPr/>
          </p:nvSpPr>
          <p:spPr bwMode="auto">
            <a:xfrm>
              <a:off x="3822192" y="1780800"/>
              <a:ext cx="7698295" cy="4003616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TW" dirty="0" err="1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rnn</a:t>
              </a:r>
              <a:r>
                <a:rPr lang="en-US" altLang="zh-TW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/seq2seq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的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sym typeface="+mn-lt"/>
                </a:rPr>
                <a:t>問題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Attention</a:t>
              </a:r>
              <a:r>
                <a:rPr lang="zh-TW" altLang="en-US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概念.</a:t>
              </a:r>
              <a:endParaRPr lang="en-US" altLang="zh-TW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en-US" altLang="zh-CN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Transformer </a:t>
              </a:r>
              <a:r>
                <a:rPr lang="zh-TW" altLang="en-US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+mn-lt"/>
                  <a:ea typeface="+mn-ea"/>
                  <a:sym typeface="+mn-lt"/>
                </a:rPr>
                <a:t>模型</a:t>
              </a:r>
              <a:endParaRPr lang="en-US" altLang="zh-CN" dirty="0">
                <a:solidFill>
                  <a:schemeClr val="accent1">
                    <a:lumMod val="75000"/>
                    <a:lumOff val="25000"/>
                  </a:schemeClr>
                </a:solidFill>
                <a:latin typeface="+mn-lt"/>
                <a:ea typeface="+mn-ea"/>
                <a:sym typeface="+mn-lt"/>
              </a:endParaRPr>
            </a:p>
            <a:p>
              <a:pPr>
                <a:lnSpc>
                  <a:spcPct val="150000"/>
                </a:lnSpc>
              </a:pPr>
              <a:endParaRPr lang="en-US" altLang="zh-CN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iṧḻídè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A1FB18E-FA01-4588-BEF9-FB96A98A84D4}"/>
                </a:ext>
              </a:extLst>
            </p:cNvPr>
            <p:cNvCxnSpPr>
              <a:cxnSpLocks/>
            </p:cNvCxnSpPr>
            <p:nvPr/>
          </p:nvCxnSpPr>
          <p:spPr>
            <a:xfrm>
              <a:off x="3696888" y="1780800"/>
              <a:ext cx="0" cy="4003616"/>
            </a:xfrm>
            <a:prstGeom prst="line">
              <a:avLst/>
            </a:prstGeom>
            <a:solidFill>
              <a:srgbClr val="FFCC00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ïś1iďê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0DB1D0A1-2667-455C-9387-D7ABF0A00B8C}"/>
                </a:ext>
              </a:extLst>
            </p:cNvPr>
            <p:cNvSpPr txBox="1"/>
            <p:nvPr/>
          </p:nvSpPr>
          <p:spPr>
            <a:xfrm>
              <a:off x="1175743" y="1700808"/>
              <a:ext cx="252110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ON</a:t>
              </a:r>
              <a:r>
                <a:rPr lang="tr-TR" sz="1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tr-TR" sz="2800" b="1" dirty="0" smtClean="0">
                  <a:solidFill>
                    <a:schemeClr val="accent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TENTS</a:t>
              </a:r>
              <a:endParaRPr lang="tr-TR" sz="2800" b="1" dirty="0">
                <a:solidFill>
                  <a:schemeClr val="accent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06f6d9a9-ef99-41cd-9334-ef7ede97a8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401230" y="2354884"/>
            <a:ext cx="1812095" cy="2524368"/>
            <a:chOff x="4605338" y="1355725"/>
            <a:chExt cx="2976563" cy="4146550"/>
          </a:xfrm>
        </p:grpSpPr>
        <p:sp>
          <p:nvSpPr>
            <p:cNvPr id="12" name="iSḷ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600963-026A-4A00-8331-013861BCC70A}"/>
                </a:ext>
              </a:extLst>
            </p:cNvPr>
            <p:cNvSpPr/>
            <p:nvPr/>
          </p:nvSpPr>
          <p:spPr bwMode="auto">
            <a:xfrm>
              <a:off x="4605338" y="1355725"/>
              <a:ext cx="2976563" cy="3290888"/>
            </a:xfrm>
            <a:custGeom>
              <a:avLst/>
              <a:gdLst>
                <a:gd name="T0" fmla="*/ 520 w 726"/>
                <a:gd name="T1" fmla="*/ 804 h 804"/>
                <a:gd name="T2" fmla="*/ 520 w 726"/>
                <a:gd name="T3" fmla="*/ 766 h 804"/>
                <a:gd name="T4" fmla="*/ 552 w 726"/>
                <a:gd name="T5" fmla="*/ 672 h 804"/>
                <a:gd name="T6" fmla="*/ 726 w 726"/>
                <a:gd name="T7" fmla="*/ 363 h 804"/>
                <a:gd name="T8" fmla="*/ 363 w 726"/>
                <a:gd name="T9" fmla="*/ 0 h 804"/>
                <a:gd name="T10" fmla="*/ 0 w 726"/>
                <a:gd name="T11" fmla="*/ 363 h 804"/>
                <a:gd name="T12" fmla="*/ 173 w 726"/>
                <a:gd name="T13" fmla="*/ 672 h 804"/>
                <a:gd name="T14" fmla="*/ 205 w 726"/>
                <a:gd name="T15" fmla="*/ 766 h 804"/>
                <a:gd name="T16" fmla="*/ 205 w 726"/>
                <a:gd name="T17" fmla="*/ 804 h 804"/>
                <a:gd name="T18" fmla="*/ 520 w 726"/>
                <a:gd name="T19" fmla="*/ 804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6" h="804">
                  <a:moveTo>
                    <a:pt x="520" y="804"/>
                  </a:moveTo>
                  <a:cubicBezTo>
                    <a:pt x="520" y="766"/>
                    <a:pt x="520" y="766"/>
                    <a:pt x="520" y="766"/>
                  </a:cubicBezTo>
                  <a:cubicBezTo>
                    <a:pt x="525" y="713"/>
                    <a:pt x="521" y="688"/>
                    <a:pt x="552" y="672"/>
                  </a:cubicBezTo>
                  <a:cubicBezTo>
                    <a:pt x="656" y="609"/>
                    <a:pt x="726" y="494"/>
                    <a:pt x="726" y="363"/>
                  </a:cubicBezTo>
                  <a:cubicBezTo>
                    <a:pt x="726" y="162"/>
                    <a:pt x="563" y="0"/>
                    <a:pt x="363" y="0"/>
                  </a:cubicBezTo>
                  <a:cubicBezTo>
                    <a:pt x="162" y="0"/>
                    <a:pt x="0" y="162"/>
                    <a:pt x="0" y="363"/>
                  </a:cubicBezTo>
                  <a:cubicBezTo>
                    <a:pt x="0" y="494"/>
                    <a:pt x="69" y="609"/>
                    <a:pt x="173" y="672"/>
                  </a:cubicBezTo>
                  <a:cubicBezTo>
                    <a:pt x="209" y="699"/>
                    <a:pt x="201" y="713"/>
                    <a:pt x="205" y="766"/>
                  </a:cubicBezTo>
                  <a:cubicBezTo>
                    <a:pt x="205" y="804"/>
                    <a:pt x="205" y="804"/>
                    <a:pt x="205" y="804"/>
                  </a:cubicBezTo>
                  <a:lnTo>
                    <a:pt x="520" y="804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isļ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8697FC-AFAC-436C-BC74-ADFFF7B66A42}"/>
                </a:ext>
              </a:extLst>
            </p:cNvPr>
            <p:cNvSpPr/>
            <p:nvPr/>
          </p:nvSpPr>
          <p:spPr bwMode="auto">
            <a:xfrm>
              <a:off x="5449888" y="4646613"/>
              <a:ext cx="1287463" cy="528638"/>
            </a:xfrm>
            <a:prstGeom prst="rect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$1ï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1DDFB89-AE3A-4230-9C66-474146E2AE58}"/>
                </a:ext>
              </a:extLst>
            </p:cNvPr>
            <p:cNvSpPr/>
            <p:nvPr/>
          </p:nvSpPr>
          <p:spPr bwMode="auto">
            <a:xfrm>
              <a:off x="5449888" y="483076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$l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FD07E84-ECEF-4EEC-B318-05E44E0B4F8E}"/>
                </a:ext>
              </a:extLst>
            </p:cNvPr>
            <p:cNvSpPr/>
            <p:nvPr/>
          </p:nvSpPr>
          <p:spPr bwMode="auto">
            <a:xfrm>
              <a:off x="5449888" y="5002213"/>
              <a:ext cx="1287463" cy="0"/>
            </a:xfrm>
            <a:prstGeom prst="line">
              <a:avLst/>
            </a:pr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íṧľ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1E4676E-E4BD-487F-A1A5-0622F51C5DB3}"/>
                </a:ext>
              </a:extLst>
            </p:cNvPr>
            <p:cNvSpPr/>
            <p:nvPr/>
          </p:nvSpPr>
          <p:spPr bwMode="auto">
            <a:xfrm>
              <a:off x="5713413" y="5175250"/>
              <a:ext cx="762000" cy="327025"/>
            </a:xfrm>
            <a:custGeom>
              <a:avLst/>
              <a:gdLst>
                <a:gd name="T0" fmla="*/ 0 w 186"/>
                <a:gd name="T1" fmla="*/ 0 h 80"/>
                <a:gd name="T2" fmla="*/ 93 w 186"/>
                <a:gd name="T3" fmla="*/ 80 h 80"/>
                <a:gd name="T4" fmla="*/ 186 w 186"/>
                <a:gd name="T5" fmla="*/ 0 h 80"/>
                <a:gd name="T6" fmla="*/ 0 w 186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80">
                  <a:moveTo>
                    <a:pt x="0" y="0"/>
                  </a:moveTo>
                  <a:cubicBezTo>
                    <a:pt x="6" y="45"/>
                    <a:pt x="46" y="80"/>
                    <a:pt x="93" y="80"/>
                  </a:cubicBezTo>
                  <a:cubicBezTo>
                    <a:pt x="140" y="80"/>
                    <a:pt x="179" y="45"/>
                    <a:pt x="186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06363" cap="rnd">
              <a:solidFill>
                <a:srgbClr val="0B318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îṩ1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AFAE95-12EB-4033-9FF7-C92B09644A91}"/>
                </a:ext>
              </a:extLst>
            </p:cNvPr>
            <p:cNvSpPr/>
            <p:nvPr/>
          </p:nvSpPr>
          <p:spPr bwMode="auto">
            <a:xfrm>
              <a:off x="5045075" y="1781175"/>
              <a:ext cx="2093913" cy="2084388"/>
            </a:xfrm>
            <a:custGeom>
              <a:avLst/>
              <a:gdLst>
                <a:gd name="T0" fmla="*/ 509 w 511"/>
                <a:gd name="T1" fmla="*/ 298 h 509"/>
                <a:gd name="T2" fmla="*/ 511 w 511"/>
                <a:gd name="T3" fmla="*/ 227 h 509"/>
                <a:gd name="T4" fmla="*/ 469 w 511"/>
                <a:gd name="T5" fmla="*/ 226 h 509"/>
                <a:gd name="T6" fmla="*/ 457 w 511"/>
                <a:gd name="T7" fmla="*/ 184 h 509"/>
                <a:gd name="T8" fmla="*/ 496 w 511"/>
                <a:gd name="T9" fmla="*/ 163 h 509"/>
                <a:gd name="T10" fmla="*/ 462 w 511"/>
                <a:gd name="T11" fmla="*/ 101 h 509"/>
                <a:gd name="T12" fmla="*/ 421 w 511"/>
                <a:gd name="T13" fmla="*/ 124 h 509"/>
                <a:gd name="T14" fmla="*/ 391 w 511"/>
                <a:gd name="T15" fmla="*/ 95 h 509"/>
                <a:gd name="T16" fmla="*/ 416 w 511"/>
                <a:gd name="T17" fmla="*/ 53 h 509"/>
                <a:gd name="T18" fmla="*/ 355 w 511"/>
                <a:gd name="T19" fmla="*/ 17 h 509"/>
                <a:gd name="T20" fmla="*/ 330 w 511"/>
                <a:gd name="T21" fmla="*/ 61 h 509"/>
                <a:gd name="T22" fmla="*/ 291 w 511"/>
                <a:gd name="T23" fmla="*/ 50 h 509"/>
                <a:gd name="T24" fmla="*/ 291 w 511"/>
                <a:gd name="T25" fmla="*/ 0 h 509"/>
                <a:gd name="T26" fmla="*/ 221 w 511"/>
                <a:gd name="T27" fmla="*/ 0 h 509"/>
                <a:gd name="T28" fmla="*/ 221 w 511"/>
                <a:gd name="T29" fmla="*/ 50 h 509"/>
                <a:gd name="T30" fmla="*/ 191 w 511"/>
                <a:gd name="T31" fmla="*/ 57 h 509"/>
                <a:gd name="T32" fmla="*/ 167 w 511"/>
                <a:gd name="T33" fmla="*/ 13 h 509"/>
                <a:gd name="T34" fmla="*/ 105 w 511"/>
                <a:gd name="T35" fmla="*/ 46 h 509"/>
                <a:gd name="T36" fmla="*/ 128 w 511"/>
                <a:gd name="T37" fmla="*/ 89 h 509"/>
                <a:gd name="T38" fmla="*/ 100 w 511"/>
                <a:gd name="T39" fmla="*/ 114 h 509"/>
                <a:gd name="T40" fmla="*/ 60 w 511"/>
                <a:gd name="T41" fmla="*/ 88 h 509"/>
                <a:gd name="T42" fmla="*/ 22 w 511"/>
                <a:gd name="T43" fmla="*/ 147 h 509"/>
                <a:gd name="T44" fmla="*/ 60 w 511"/>
                <a:gd name="T45" fmla="*/ 171 h 509"/>
                <a:gd name="T46" fmla="*/ 46 w 511"/>
                <a:gd name="T47" fmla="*/ 212 h 509"/>
                <a:gd name="T48" fmla="*/ 3 w 511"/>
                <a:gd name="T49" fmla="*/ 211 h 509"/>
                <a:gd name="T50" fmla="*/ 0 w 511"/>
                <a:gd name="T51" fmla="*/ 281 h 509"/>
                <a:gd name="T52" fmla="*/ 41 w 511"/>
                <a:gd name="T53" fmla="*/ 282 h 509"/>
                <a:gd name="T54" fmla="*/ 49 w 511"/>
                <a:gd name="T55" fmla="*/ 327 h 509"/>
                <a:gd name="T56" fmla="*/ 16 w 511"/>
                <a:gd name="T57" fmla="*/ 346 h 509"/>
                <a:gd name="T58" fmla="*/ 50 w 511"/>
                <a:gd name="T59" fmla="*/ 407 h 509"/>
                <a:gd name="T60" fmla="*/ 81 w 511"/>
                <a:gd name="T61" fmla="*/ 390 h 509"/>
                <a:gd name="T62" fmla="*/ 113 w 511"/>
                <a:gd name="T63" fmla="*/ 426 h 509"/>
                <a:gd name="T64" fmla="*/ 96 w 511"/>
                <a:gd name="T65" fmla="*/ 455 h 509"/>
                <a:gd name="T66" fmla="*/ 156 w 511"/>
                <a:gd name="T67" fmla="*/ 491 h 509"/>
                <a:gd name="T68" fmla="*/ 173 w 511"/>
                <a:gd name="T69" fmla="*/ 463 h 509"/>
                <a:gd name="T70" fmla="*/ 221 w 511"/>
                <a:gd name="T71" fmla="*/ 477 h 509"/>
                <a:gd name="T72" fmla="*/ 221 w 511"/>
                <a:gd name="T73" fmla="*/ 509 h 509"/>
                <a:gd name="T74" fmla="*/ 291 w 511"/>
                <a:gd name="T75" fmla="*/ 509 h 509"/>
                <a:gd name="T76" fmla="*/ 291 w 511"/>
                <a:gd name="T77" fmla="*/ 477 h 509"/>
                <a:gd name="T78" fmla="*/ 329 w 511"/>
                <a:gd name="T79" fmla="*/ 467 h 509"/>
                <a:gd name="T80" fmla="*/ 344 w 511"/>
                <a:gd name="T81" fmla="*/ 495 h 509"/>
                <a:gd name="T82" fmla="*/ 406 w 511"/>
                <a:gd name="T83" fmla="*/ 462 h 509"/>
                <a:gd name="T84" fmla="*/ 391 w 511"/>
                <a:gd name="T85" fmla="*/ 433 h 509"/>
                <a:gd name="T86" fmla="*/ 422 w 511"/>
                <a:gd name="T87" fmla="*/ 402 h 509"/>
                <a:gd name="T88" fmla="*/ 452 w 511"/>
                <a:gd name="T89" fmla="*/ 420 h 509"/>
                <a:gd name="T90" fmla="*/ 489 w 511"/>
                <a:gd name="T91" fmla="*/ 361 h 509"/>
                <a:gd name="T92" fmla="*/ 458 w 511"/>
                <a:gd name="T93" fmla="*/ 341 h 509"/>
                <a:gd name="T94" fmla="*/ 470 w 511"/>
                <a:gd name="T95" fmla="*/ 296 h 509"/>
                <a:gd name="T96" fmla="*/ 509 w 511"/>
                <a:gd name="T97" fmla="*/ 2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1" h="509">
                  <a:moveTo>
                    <a:pt x="509" y="298"/>
                  </a:moveTo>
                  <a:cubicBezTo>
                    <a:pt x="511" y="227"/>
                    <a:pt x="511" y="227"/>
                    <a:pt x="511" y="227"/>
                  </a:cubicBezTo>
                  <a:cubicBezTo>
                    <a:pt x="469" y="226"/>
                    <a:pt x="469" y="226"/>
                    <a:pt x="469" y="226"/>
                  </a:cubicBezTo>
                  <a:cubicBezTo>
                    <a:pt x="466" y="211"/>
                    <a:pt x="462" y="197"/>
                    <a:pt x="457" y="184"/>
                  </a:cubicBezTo>
                  <a:cubicBezTo>
                    <a:pt x="496" y="163"/>
                    <a:pt x="496" y="163"/>
                    <a:pt x="496" y="163"/>
                  </a:cubicBezTo>
                  <a:cubicBezTo>
                    <a:pt x="462" y="101"/>
                    <a:pt x="462" y="101"/>
                    <a:pt x="462" y="101"/>
                  </a:cubicBezTo>
                  <a:cubicBezTo>
                    <a:pt x="421" y="124"/>
                    <a:pt x="421" y="124"/>
                    <a:pt x="421" y="124"/>
                  </a:cubicBezTo>
                  <a:cubicBezTo>
                    <a:pt x="412" y="113"/>
                    <a:pt x="402" y="104"/>
                    <a:pt x="391" y="95"/>
                  </a:cubicBezTo>
                  <a:cubicBezTo>
                    <a:pt x="416" y="53"/>
                    <a:pt x="416" y="53"/>
                    <a:pt x="416" y="53"/>
                  </a:cubicBezTo>
                  <a:cubicBezTo>
                    <a:pt x="355" y="17"/>
                    <a:pt x="355" y="17"/>
                    <a:pt x="355" y="17"/>
                  </a:cubicBezTo>
                  <a:cubicBezTo>
                    <a:pt x="330" y="61"/>
                    <a:pt x="330" y="61"/>
                    <a:pt x="330" y="61"/>
                  </a:cubicBezTo>
                  <a:cubicBezTo>
                    <a:pt x="317" y="56"/>
                    <a:pt x="304" y="53"/>
                    <a:pt x="291" y="5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50"/>
                    <a:pt x="221" y="50"/>
                    <a:pt x="221" y="50"/>
                  </a:cubicBezTo>
                  <a:cubicBezTo>
                    <a:pt x="211" y="52"/>
                    <a:pt x="201" y="54"/>
                    <a:pt x="191" y="57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18" y="96"/>
                    <a:pt x="109" y="105"/>
                    <a:pt x="100" y="114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54" y="184"/>
                    <a:pt x="49" y="198"/>
                    <a:pt x="46" y="212"/>
                  </a:cubicBezTo>
                  <a:cubicBezTo>
                    <a:pt x="3" y="211"/>
                    <a:pt x="3" y="211"/>
                    <a:pt x="3" y="211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41" y="282"/>
                    <a:pt x="41" y="282"/>
                    <a:pt x="41" y="282"/>
                  </a:cubicBezTo>
                  <a:cubicBezTo>
                    <a:pt x="42" y="298"/>
                    <a:pt x="45" y="313"/>
                    <a:pt x="49" y="327"/>
                  </a:cubicBezTo>
                  <a:cubicBezTo>
                    <a:pt x="16" y="346"/>
                    <a:pt x="16" y="346"/>
                    <a:pt x="16" y="346"/>
                  </a:cubicBezTo>
                  <a:cubicBezTo>
                    <a:pt x="50" y="407"/>
                    <a:pt x="50" y="407"/>
                    <a:pt x="50" y="407"/>
                  </a:cubicBezTo>
                  <a:cubicBezTo>
                    <a:pt x="81" y="390"/>
                    <a:pt x="81" y="390"/>
                    <a:pt x="81" y="390"/>
                  </a:cubicBezTo>
                  <a:cubicBezTo>
                    <a:pt x="90" y="403"/>
                    <a:pt x="101" y="416"/>
                    <a:pt x="113" y="426"/>
                  </a:cubicBezTo>
                  <a:cubicBezTo>
                    <a:pt x="96" y="455"/>
                    <a:pt x="96" y="455"/>
                    <a:pt x="96" y="455"/>
                  </a:cubicBezTo>
                  <a:cubicBezTo>
                    <a:pt x="156" y="491"/>
                    <a:pt x="156" y="491"/>
                    <a:pt x="156" y="491"/>
                  </a:cubicBezTo>
                  <a:cubicBezTo>
                    <a:pt x="173" y="463"/>
                    <a:pt x="173" y="463"/>
                    <a:pt x="173" y="463"/>
                  </a:cubicBezTo>
                  <a:cubicBezTo>
                    <a:pt x="188" y="470"/>
                    <a:pt x="204" y="474"/>
                    <a:pt x="221" y="477"/>
                  </a:cubicBezTo>
                  <a:cubicBezTo>
                    <a:pt x="221" y="509"/>
                    <a:pt x="221" y="509"/>
                    <a:pt x="221" y="509"/>
                  </a:cubicBezTo>
                  <a:cubicBezTo>
                    <a:pt x="291" y="509"/>
                    <a:pt x="291" y="509"/>
                    <a:pt x="291" y="509"/>
                  </a:cubicBezTo>
                  <a:cubicBezTo>
                    <a:pt x="291" y="477"/>
                    <a:pt x="291" y="477"/>
                    <a:pt x="291" y="477"/>
                  </a:cubicBezTo>
                  <a:cubicBezTo>
                    <a:pt x="304" y="475"/>
                    <a:pt x="317" y="472"/>
                    <a:pt x="329" y="467"/>
                  </a:cubicBezTo>
                  <a:cubicBezTo>
                    <a:pt x="344" y="495"/>
                    <a:pt x="344" y="495"/>
                    <a:pt x="344" y="495"/>
                  </a:cubicBezTo>
                  <a:cubicBezTo>
                    <a:pt x="406" y="462"/>
                    <a:pt x="406" y="462"/>
                    <a:pt x="406" y="462"/>
                  </a:cubicBezTo>
                  <a:cubicBezTo>
                    <a:pt x="391" y="433"/>
                    <a:pt x="391" y="433"/>
                    <a:pt x="391" y="433"/>
                  </a:cubicBezTo>
                  <a:cubicBezTo>
                    <a:pt x="402" y="424"/>
                    <a:pt x="413" y="413"/>
                    <a:pt x="422" y="402"/>
                  </a:cubicBezTo>
                  <a:cubicBezTo>
                    <a:pt x="452" y="420"/>
                    <a:pt x="452" y="420"/>
                    <a:pt x="452" y="420"/>
                  </a:cubicBezTo>
                  <a:cubicBezTo>
                    <a:pt x="489" y="361"/>
                    <a:pt x="489" y="361"/>
                    <a:pt x="489" y="361"/>
                  </a:cubicBezTo>
                  <a:cubicBezTo>
                    <a:pt x="458" y="341"/>
                    <a:pt x="458" y="341"/>
                    <a:pt x="458" y="341"/>
                  </a:cubicBezTo>
                  <a:cubicBezTo>
                    <a:pt x="463" y="327"/>
                    <a:pt x="467" y="312"/>
                    <a:pt x="470" y="296"/>
                  </a:cubicBezTo>
                  <a:lnTo>
                    <a:pt x="509" y="298"/>
                  </a:lnTo>
                  <a:close/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íśľ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276F477-A3E4-42E6-AF07-7A5C773BF29D}"/>
                </a:ext>
              </a:extLst>
            </p:cNvPr>
            <p:cNvSpPr/>
            <p:nvPr/>
          </p:nvSpPr>
          <p:spPr bwMode="auto">
            <a:xfrm>
              <a:off x="5462588" y="2195513"/>
              <a:ext cx="1258888" cy="1255713"/>
            </a:xfrm>
            <a:custGeom>
              <a:avLst/>
              <a:gdLst>
                <a:gd name="T0" fmla="*/ 154 w 307"/>
                <a:gd name="T1" fmla="*/ 0 h 307"/>
                <a:gd name="T2" fmla="*/ 0 w 307"/>
                <a:gd name="T3" fmla="*/ 153 h 307"/>
                <a:gd name="T4" fmla="*/ 154 w 307"/>
                <a:gd name="T5" fmla="*/ 307 h 307"/>
                <a:gd name="T6" fmla="*/ 307 w 307"/>
                <a:gd name="T7" fmla="*/ 153 h 307"/>
                <a:gd name="T8" fmla="*/ 154 w 307"/>
                <a:gd name="T9" fmla="*/ 0 h 307"/>
                <a:gd name="T10" fmla="*/ 154 w 307"/>
                <a:gd name="T11" fmla="*/ 258 h 307"/>
                <a:gd name="T12" fmla="*/ 49 w 307"/>
                <a:gd name="T13" fmla="*/ 153 h 307"/>
                <a:gd name="T14" fmla="*/ 154 w 307"/>
                <a:gd name="T15" fmla="*/ 48 h 307"/>
                <a:gd name="T16" fmla="*/ 259 w 307"/>
                <a:gd name="T17" fmla="*/ 153 h 307"/>
                <a:gd name="T18" fmla="*/ 154 w 307"/>
                <a:gd name="T19" fmla="*/ 25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307">
                  <a:moveTo>
                    <a:pt x="154" y="0"/>
                  </a:moveTo>
                  <a:cubicBezTo>
                    <a:pt x="69" y="0"/>
                    <a:pt x="0" y="68"/>
                    <a:pt x="0" y="153"/>
                  </a:cubicBezTo>
                  <a:cubicBezTo>
                    <a:pt x="0" y="238"/>
                    <a:pt x="69" y="307"/>
                    <a:pt x="154" y="307"/>
                  </a:cubicBezTo>
                  <a:cubicBezTo>
                    <a:pt x="239" y="307"/>
                    <a:pt x="307" y="238"/>
                    <a:pt x="307" y="153"/>
                  </a:cubicBezTo>
                  <a:cubicBezTo>
                    <a:pt x="307" y="68"/>
                    <a:pt x="239" y="0"/>
                    <a:pt x="154" y="0"/>
                  </a:cubicBezTo>
                  <a:close/>
                  <a:moveTo>
                    <a:pt x="154" y="258"/>
                  </a:moveTo>
                  <a:cubicBezTo>
                    <a:pt x="96" y="258"/>
                    <a:pt x="49" y="211"/>
                    <a:pt x="49" y="153"/>
                  </a:cubicBezTo>
                  <a:cubicBezTo>
                    <a:pt x="49" y="95"/>
                    <a:pt x="96" y="48"/>
                    <a:pt x="154" y="48"/>
                  </a:cubicBezTo>
                  <a:cubicBezTo>
                    <a:pt x="212" y="48"/>
                    <a:pt x="259" y="95"/>
                    <a:pt x="259" y="153"/>
                  </a:cubicBezTo>
                  <a:cubicBezTo>
                    <a:pt x="259" y="211"/>
                    <a:pt x="212" y="258"/>
                    <a:pt x="154" y="258"/>
                  </a:cubicBezTo>
                  <a:close/>
                </a:path>
              </a:pathLst>
            </a:custGeom>
            <a:solidFill>
              <a:srgbClr val="6FC9F3"/>
            </a:solidFill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iṩľî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088FAD8-8066-4BE1-8745-FE0566847E35}"/>
                </a:ext>
              </a:extLst>
            </p:cNvPr>
            <p:cNvSpPr/>
            <p:nvPr/>
          </p:nvSpPr>
          <p:spPr bwMode="auto">
            <a:xfrm>
              <a:off x="6130925" y="2841625"/>
              <a:ext cx="1217613" cy="1216025"/>
            </a:xfrm>
            <a:custGeom>
              <a:avLst/>
              <a:gdLst>
                <a:gd name="T0" fmla="*/ 297 w 297"/>
                <a:gd name="T1" fmla="*/ 0 h 297"/>
                <a:gd name="T2" fmla="*/ 0 w 297"/>
                <a:gd name="T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7" h="297">
                  <a:moveTo>
                    <a:pt x="297" y="0"/>
                  </a:moveTo>
                  <a:cubicBezTo>
                    <a:pt x="297" y="164"/>
                    <a:pt x="164" y="297"/>
                    <a:pt x="0" y="297"/>
                  </a:cubicBezTo>
                </a:path>
              </a:pathLst>
            </a:custGeom>
            <a:noFill/>
            <a:ln w="106363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7" name="08e7e138-8b4f-426a-adac-f69d349703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400148" y="2069043"/>
            <a:ext cx="3149042" cy="2704976"/>
            <a:chOff x="3935413" y="1573213"/>
            <a:chExt cx="4311650" cy="3703638"/>
          </a:xfrm>
        </p:grpSpPr>
        <p:sp>
          <p:nvSpPr>
            <p:cNvPr id="28" name="îṣ1ï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34A0693-9918-47D2-B7D3-BFCC956FAAB3}"/>
                </a:ext>
              </a:extLst>
            </p:cNvPr>
            <p:cNvSpPr/>
            <p:nvPr/>
          </p:nvSpPr>
          <p:spPr bwMode="auto">
            <a:xfrm>
              <a:off x="3935413" y="1573213"/>
              <a:ext cx="4311650" cy="2895600"/>
            </a:xfrm>
            <a:custGeom>
              <a:avLst/>
              <a:gdLst>
                <a:gd name="T0" fmla="*/ 1014 w 1014"/>
                <a:gd name="T1" fmla="*/ 628 h 681"/>
                <a:gd name="T2" fmla="*/ 961 w 1014"/>
                <a:gd name="T3" fmla="*/ 681 h 681"/>
                <a:gd name="T4" fmla="*/ 54 w 1014"/>
                <a:gd name="T5" fmla="*/ 681 h 681"/>
                <a:gd name="T6" fmla="*/ 0 w 1014"/>
                <a:gd name="T7" fmla="*/ 628 h 681"/>
                <a:gd name="T8" fmla="*/ 0 w 1014"/>
                <a:gd name="T9" fmla="*/ 53 h 681"/>
                <a:gd name="T10" fmla="*/ 54 w 1014"/>
                <a:gd name="T11" fmla="*/ 0 h 681"/>
                <a:gd name="T12" fmla="*/ 961 w 1014"/>
                <a:gd name="T13" fmla="*/ 0 h 681"/>
                <a:gd name="T14" fmla="*/ 1014 w 1014"/>
                <a:gd name="T15" fmla="*/ 53 h 681"/>
                <a:gd name="T16" fmla="*/ 1014 w 1014"/>
                <a:gd name="T17" fmla="*/ 628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4" h="681">
                  <a:moveTo>
                    <a:pt x="1014" y="628"/>
                  </a:moveTo>
                  <a:cubicBezTo>
                    <a:pt x="1014" y="658"/>
                    <a:pt x="990" y="681"/>
                    <a:pt x="961" y="681"/>
                  </a:cubicBezTo>
                  <a:cubicBezTo>
                    <a:pt x="54" y="681"/>
                    <a:pt x="54" y="681"/>
                    <a:pt x="54" y="681"/>
                  </a:cubicBezTo>
                  <a:cubicBezTo>
                    <a:pt x="24" y="681"/>
                    <a:pt x="0" y="658"/>
                    <a:pt x="0" y="62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4" y="0"/>
                    <a:pt x="54" y="0"/>
                  </a:cubicBezTo>
                  <a:cubicBezTo>
                    <a:pt x="961" y="0"/>
                    <a:pt x="961" y="0"/>
                    <a:pt x="961" y="0"/>
                  </a:cubicBezTo>
                  <a:cubicBezTo>
                    <a:pt x="990" y="0"/>
                    <a:pt x="1014" y="23"/>
                    <a:pt x="1014" y="53"/>
                  </a:cubicBezTo>
                  <a:lnTo>
                    <a:pt x="1014" y="628"/>
                  </a:lnTo>
                  <a:close/>
                </a:path>
              </a:pathLst>
            </a:cu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$1ï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8BF678F-DB82-45DF-8316-638F22424D8B}"/>
                </a:ext>
              </a:extLst>
            </p:cNvPr>
            <p:cNvSpPr/>
            <p:nvPr/>
          </p:nvSpPr>
          <p:spPr bwMode="auto">
            <a:xfrm>
              <a:off x="4195763" y="1833563"/>
              <a:ext cx="3797300" cy="2374900"/>
            </a:xfrm>
            <a:prstGeom prst="rect">
              <a:avLst/>
            </a:pr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îŝ1í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B645DBC-69B6-4FC6-939E-BAA69A31AAB9}"/>
                </a:ext>
              </a:extLst>
            </p:cNvPr>
            <p:cNvSpPr/>
            <p:nvPr/>
          </p:nvSpPr>
          <p:spPr bwMode="auto">
            <a:xfrm>
              <a:off x="5683250" y="4468813"/>
              <a:ext cx="815975" cy="611188"/>
            </a:xfrm>
            <a:prstGeom prst="rect">
              <a:avLst/>
            </a:prstGeom>
            <a:solidFill>
              <a:srgbClr val="6FC9F3"/>
            </a:solidFill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iš1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A591F2-C572-4367-AD34-28F7C383683B}"/>
                </a:ext>
              </a:extLst>
            </p:cNvPr>
            <p:cNvSpPr/>
            <p:nvPr/>
          </p:nvSpPr>
          <p:spPr bwMode="auto">
            <a:xfrm>
              <a:off x="5224463" y="5080001"/>
              <a:ext cx="1738313" cy="196850"/>
            </a:xfrm>
            <a:custGeom>
              <a:avLst/>
              <a:gdLst>
                <a:gd name="T0" fmla="*/ 363 w 409"/>
                <a:gd name="T1" fmla="*/ 0 h 46"/>
                <a:gd name="T2" fmla="*/ 298 w 409"/>
                <a:gd name="T3" fmla="*/ 0 h 46"/>
                <a:gd name="T4" fmla="*/ 204 w 409"/>
                <a:gd name="T5" fmla="*/ 0 h 46"/>
                <a:gd name="T6" fmla="*/ 111 w 409"/>
                <a:gd name="T7" fmla="*/ 0 h 46"/>
                <a:gd name="T8" fmla="*/ 45 w 409"/>
                <a:gd name="T9" fmla="*/ 0 h 46"/>
                <a:gd name="T10" fmla="*/ 0 w 409"/>
                <a:gd name="T11" fmla="*/ 46 h 46"/>
                <a:gd name="T12" fmla="*/ 204 w 409"/>
                <a:gd name="T13" fmla="*/ 46 h 46"/>
                <a:gd name="T14" fmla="*/ 409 w 409"/>
                <a:gd name="T15" fmla="*/ 46 h 46"/>
                <a:gd name="T16" fmla="*/ 363 w 409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46">
                  <a:moveTo>
                    <a:pt x="363" y="0"/>
                  </a:moveTo>
                  <a:cubicBezTo>
                    <a:pt x="298" y="0"/>
                    <a:pt x="298" y="0"/>
                    <a:pt x="298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" y="0"/>
                    <a:pt x="0" y="46"/>
                  </a:cubicBezTo>
                  <a:cubicBezTo>
                    <a:pt x="204" y="46"/>
                    <a:pt x="204" y="46"/>
                    <a:pt x="204" y="46"/>
                  </a:cubicBezTo>
                  <a:cubicBezTo>
                    <a:pt x="409" y="46"/>
                    <a:pt x="409" y="46"/>
                    <a:pt x="409" y="46"/>
                  </a:cubicBezTo>
                  <a:cubicBezTo>
                    <a:pt x="404" y="0"/>
                    <a:pt x="363" y="0"/>
                    <a:pt x="363" y="0"/>
                  </a:cubicBezTo>
                  <a:close/>
                </a:path>
              </a:pathLst>
            </a:custGeom>
            <a:solidFill>
              <a:srgbClr val="FFFFFF"/>
            </a:solidFill>
            <a:ln w="111125" cap="rnd">
              <a:solidFill>
                <a:srgbClr val="0B318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ïšḻ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2E3F38-5BFD-4E6F-B9D8-77C06CC29CB1}"/>
                </a:ext>
              </a:extLst>
            </p:cNvPr>
            <p:cNvSpPr/>
            <p:nvPr/>
          </p:nvSpPr>
          <p:spPr bwMode="auto">
            <a:xfrm>
              <a:off x="4459288" y="2789238"/>
              <a:ext cx="1041400" cy="1173163"/>
            </a:xfrm>
            <a:custGeom>
              <a:avLst/>
              <a:gdLst>
                <a:gd name="T0" fmla="*/ 0 w 656"/>
                <a:gd name="T1" fmla="*/ 0 h 739"/>
                <a:gd name="T2" fmla="*/ 0 w 656"/>
                <a:gd name="T3" fmla="*/ 739 h 739"/>
                <a:gd name="T4" fmla="*/ 656 w 656"/>
                <a:gd name="T5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6" h="739">
                  <a:moveTo>
                    <a:pt x="0" y="0"/>
                  </a:moveTo>
                  <a:lnTo>
                    <a:pt x="0" y="739"/>
                  </a:lnTo>
                  <a:lnTo>
                    <a:pt x="656" y="739"/>
                  </a:lnTo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ïŝḻ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D7DE129-ACFB-4775-BA64-A893DEBC3871}"/>
                </a:ext>
              </a:extLst>
            </p:cNvPr>
            <p:cNvSpPr/>
            <p:nvPr/>
          </p:nvSpPr>
          <p:spPr bwMode="auto">
            <a:xfrm>
              <a:off x="5203825" y="2138363"/>
              <a:ext cx="1776413" cy="1765300"/>
            </a:xfrm>
            <a:custGeom>
              <a:avLst/>
              <a:gdLst>
                <a:gd name="T0" fmla="*/ 384 w 418"/>
                <a:gd name="T1" fmla="*/ 210 h 415"/>
                <a:gd name="T2" fmla="*/ 383 w 418"/>
                <a:gd name="T3" fmla="*/ 194 h 415"/>
                <a:gd name="T4" fmla="*/ 418 w 418"/>
                <a:gd name="T5" fmla="*/ 185 h 415"/>
                <a:gd name="T6" fmla="*/ 402 w 418"/>
                <a:gd name="T7" fmla="*/ 125 h 415"/>
                <a:gd name="T8" fmla="*/ 367 w 418"/>
                <a:gd name="T9" fmla="*/ 134 h 415"/>
                <a:gd name="T10" fmla="*/ 338 w 418"/>
                <a:gd name="T11" fmla="*/ 92 h 415"/>
                <a:gd name="T12" fmla="*/ 361 w 418"/>
                <a:gd name="T13" fmla="*/ 62 h 415"/>
                <a:gd name="T14" fmla="*/ 312 w 418"/>
                <a:gd name="T15" fmla="*/ 24 h 415"/>
                <a:gd name="T16" fmla="*/ 288 w 418"/>
                <a:gd name="T17" fmla="*/ 54 h 415"/>
                <a:gd name="T18" fmla="*/ 240 w 418"/>
                <a:gd name="T19" fmla="*/ 38 h 415"/>
                <a:gd name="T20" fmla="*/ 240 w 418"/>
                <a:gd name="T21" fmla="*/ 0 h 415"/>
                <a:gd name="T22" fmla="*/ 178 w 418"/>
                <a:gd name="T23" fmla="*/ 0 h 415"/>
                <a:gd name="T24" fmla="*/ 178 w 418"/>
                <a:gd name="T25" fmla="*/ 38 h 415"/>
                <a:gd name="T26" fmla="*/ 132 w 418"/>
                <a:gd name="T27" fmla="*/ 53 h 415"/>
                <a:gd name="T28" fmla="*/ 109 w 418"/>
                <a:gd name="T29" fmla="*/ 23 h 415"/>
                <a:gd name="T30" fmla="*/ 60 w 418"/>
                <a:gd name="T31" fmla="*/ 60 h 415"/>
                <a:gd name="T32" fmla="*/ 82 w 418"/>
                <a:gd name="T33" fmla="*/ 90 h 415"/>
                <a:gd name="T34" fmla="*/ 60 w 418"/>
                <a:gd name="T35" fmla="*/ 120 h 415"/>
                <a:gd name="T36" fmla="*/ 25 w 418"/>
                <a:gd name="T37" fmla="*/ 107 h 415"/>
                <a:gd name="T38" fmla="*/ 4 w 418"/>
                <a:gd name="T39" fmla="*/ 165 h 415"/>
                <a:gd name="T40" fmla="*/ 38 w 418"/>
                <a:gd name="T41" fmla="*/ 177 h 415"/>
                <a:gd name="T42" fmla="*/ 35 w 418"/>
                <a:gd name="T43" fmla="*/ 210 h 415"/>
                <a:gd name="T44" fmla="*/ 35 w 418"/>
                <a:gd name="T45" fmla="*/ 221 h 415"/>
                <a:gd name="T46" fmla="*/ 0 w 418"/>
                <a:gd name="T47" fmla="*/ 230 h 415"/>
                <a:gd name="T48" fmla="*/ 16 w 418"/>
                <a:gd name="T49" fmla="*/ 290 h 415"/>
                <a:gd name="T50" fmla="*/ 50 w 418"/>
                <a:gd name="T51" fmla="*/ 281 h 415"/>
                <a:gd name="T52" fmla="*/ 79 w 418"/>
                <a:gd name="T53" fmla="*/ 326 h 415"/>
                <a:gd name="T54" fmla="*/ 58 w 418"/>
                <a:gd name="T55" fmla="*/ 353 h 415"/>
                <a:gd name="T56" fmla="*/ 107 w 418"/>
                <a:gd name="T57" fmla="*/ 391 h 415"/>
                <a:gd name="T58" fmla="*/ 128 w 418"/>
                <a:gd name="T59" fmla="*/ 364 h 415"/>
                <a:gd name="T60" fmla="*/ 178 w 418"/>
                <a:gd name="T61" fmla="*/ 381 h 415"/>
                <a:gd name="T62" fmla="*/ 178 w 418"/>
                <a:gd name="T63" fmla="*/ 415 h 415"/>
                <a:gd name="T64" fmla="*/ 240 w 418"/>
                <a:gd name="T65" fmla="*/ 415 h 415"/>
                <a:gd name="T66" fmla="*/ 240 w 418"/>
                <a:gd name="T67" fmla="*/ 381 h 415"/>
                <a:gd name="T68" fmla="*/ 289 w 418"/>
                <a:gd name="T69" fmla="*/ 365 h 415"/>
                <a:gd name="T70" fmla="*/ 309 w 418"/>
                <a:gd name="T71" fmla="*/ 392 h 415"/>
                <a:gd name="T72" fmla="*/ 358 w 418"/>
                <a:gd name="T73" fmla="*/ 355 h 415"/>
                <a:gd name="T74" fmla="*/ 338 w 418"/>
                <a:gd name="T75" fmla="*/ 328 h 415"/>
                <a:gd name="T76" fmla="*/ 361 w 418"/>
                <a:gd name="T77" fmla="*/ 296 h 415"/>
                <a:gd name="T78" fmla="*/ 393 w 418"/>
                <a:gd name="T79" fmla="*/ 308 h 415"/>
                <a:gd name="T80" fmla="*/ 415 w 418"/>
                <a:gd name="T81" fmla="*/ 250 h 415"/>
                <a:gd name="T82" fmla="*/ 381 w 418"/>
                <a:gd name="T83" fmla="*/ 238 h 415"/>
                <a:gd name="T84" fmla="*/ 384 w 418"/>
                <a:gd name="T85" fmla="*/ 210 h 415"/>
                <a:gd name="T86" fmla="*/ 209 w 418"/>
                <a:gd name="T87" fmla="*/ 326 h 415"/>
                <a:gd name="T88" fmla="*/ 90 w 418"/>
                <a:gd name="T89" fmla="*/ 208 h 415"/>
                <a:gd name="T90" fmla="*/ 209 w 418"/>
                <a:gd name="T91" fmla="*/ 89 h 415"/>
                <a:gd name="T92" fmla="*/ 328 w 418"/>
                <a:gd name="T93" fmla="*/ 208 h 415"/>
                <a:gd name="T94" fmla="*/ 209 w 418"/>
                <a:gd name="T95" fmla="*/ 326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8" h="415">
                  <a:moveTo>
                    <a:pt x="384" y="210"/>
                  </a:moveTo>
                  <a:cubicBezTo>
                    <a:pt x="384" y="204"/>
                    <a:pt x="383" y="199"/>
                    <a:pt x="383" y="194"/>
                  </a:cubicBezTo>
                  <a:cubicBezTo>
                    <a:pt x="418" y="185"/>
                    <a:pt x="418" y="185"/>
                    <a:pt x="418" y="185"/>
                  </a:cubicBezTo>
                  <a:cubicBezTo>
                    <a:pt x="402" y="125"/>
                    <a:pt x="402" y="125"/>
                    <a:pt x="402" y="125"/>
                  </a:cubicBezTo>
                  <a:cubicBezTo>
                    <a:pt x="367" y="134"/>
                    <a:pt x="367" y="134"/>
                    <a:pt x="367" y="134"/>
                  </a:cubicBezTo>
                  <a:cubicBezTo>
                    <a:pt x="359" y="119"/>
                    <a:pt x="349" y="104"/>
                    <a:pt x="338" y="9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288" y="54"/>
                    <a:pt x="288" y="54"/>
                    <a:pt x="288" y="54"/>
                  </a:cubicBezTo>
                  <a:cubicBezTo>
                    <a:pt x="273" y="47"/>
                    <a:pt x="257" y="41"/>
                    <a:pt x="240" y="38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8" y="38"/>
                    <a:pt x="178" y="38"/>
                    <a:pt x="178" y="38"/>
                  </a:cubicBezTo>
                  <a:cubicBezTo>
                    <a:pt x="162" y="41"/>
                    <a:pt x="147" y="46"/>
                    <a:pt x="132" y="5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74" y="99"/>
                    <a:pt x="66" y="109"/>
                    <a:pt x="60" y="12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8" y="177"/>
                    <a:pt x="38" y="177"/>
                    <a:pt x="38" y="177"/>
                  </a:cubicBezTo>
                  <a:cubicBezTo>
                    <a:pt x="36" y="188"/>
                    <a:pt x="35" y="199"/>
                    <a:pt x="35" y="210"/>
                  </a:cubicBezTo>
                  <a:cubicBezTo>
                    <a:pt x="35" y="214"/>
                    <a:pt x="35" y="217"/>
                    <a:pt x="35" y="221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" y="290"/>
                    <a:pt x="16" y="290"/>
                    <a:pt x="16" y="290"/>
                  </a:cubicBezTo>
                  <a:cubicBezTo>
                    <a:pt x="50" y="281"/>
                    <a:pt x="50" y="281"/>
                    <a:pt x="50" y="281"/>
                  </a:cubicBezTo>
                  <a:cubicBezTo>
                    <a:pt x="57" y="298"/>
                    <a:pt x="67" y="312"/>
                    <a:pt x="79" y="326"/>
                  </a:cubicBezTo>
                  <a:cubicBezTo>
                    <a:pt x="58" y="353"/>
                    <a:pt x="58" y="353"/>
                    <a:pt x="58" y="353"/>
                  </a:cubicBezTo>
                  <a:cubicBezTo>
                    <a:pt x="107" y="391"/>
                    <a:pt x="107" y="391"/>
                    <a:pt x="107" y="391"/>
                  </a:cubicBezTo>
                  <a:cubicBezTo>
                    <a:pt x="128" y="364"/>
                    <a:pt x="128" y="364"/>
                    <a:pt x="128" y="364"/>
                  </a:cubicBezTo>
                  <a:cubicBezTo>
                    <a:pt x="143" y="372"/>
                    <a:pt x="160" y="378"/>
                    <a:pt x="178" y="381"/>
                  </a:cubicBezTo>
                  <a:cubicBezTo>
                    <a:pt x="178" y="415"/>
                    <a:pt x="178" y="415"/>
                    <a:pt x="178" y="415"/>
                  </a:cubicBezTo>
                  <a:cubicBezTo>
                    <a:pt x="240" y="415"/>
                    <a:pt x="240" y="415"/>
                    <a:pt x="240" y="415"/>
                  </a:cubicBezTo>
                  <a:cubicBezTo>
                    <a:pt x="240" y="381"/>
                    <a:pt x="240" y="381"/>
                    <a:pt x="240" y="381"/>
                  </a:cubicBezTo>
                  <a:cubicBezTo>
                    <a:pt x="257" y="378"/>
                    <a:pt x="274" y="373"/>
                    <a:pt x="289" y="365"/>
                  </a:cubicBezTo>
                  <a:cubicBezTo>
                    <a:pt x="309" y="392"/>
                    <a:pt x="309" y="392"/>
                    <a:pt x="309" y="392"/>
                  </a:cubicBezTo>
                  <a:cubicBezTo>
                    <a:pt x="358" y="355"/>
                    <a:pt x="358" y="355"/>
                    <a:pt x="358" y="355"/>
                  </a:cubicBezTo>
                  <a:cubicBezTo>
                    <a:pt x="338" y="328"/>
                    <a:pt x="338" y="328"/>
                    <a:pt x="338" y="328"/>
                  </a:cubicBezTo>
                  <a:cubicBezTo>
                    <a:pt x="347" y="318"/>
                    <a:pt x="354" y="308"/>
                    <a:pt x="361" y="296"/>
                  </a:cubicBezTo>
                  <a:cubicBezTo>
                    <a:pt x="393" y="308"/>
                    <a:pt x="393" y="308"/>
                    <a:pt x="393" y="308"/>
                  </a:cubicBezTo>
                  <a:cubicBezTo>
                    <a:pt x="415" y="250"/>
                    <a:pt x="415" y="250"/>
                    <a:pt x="415" y="250"/>
                  </a:cubicBezTo>
                  <a:cubicBezTo>
                    <a:pt x="381" y="238"/>
                    <a:pt x="381" y="238"/>
                    <a:pt x="381" y="238"/>
                  </a:cubicBezTo>
                  <a:cubicBezTo>
                    <a:pt x="383" y="229"/>
                    <a:pt x="384" y="219"/>
                    <a:pt x="384" y="210"/>
                  </a:cubicBezTo>
                  <a:close/>
                  <a:moveTo>
                    <a:pt x="209" y="326"/>
                  </a:moveTo>
                  <a:cubicBezTo>
                    <a:pt x="144" y="326"/>
                    <a:pt x="90" y="273"/>
                    <a:pt x="90" y="208"/>
                  </a:cubicBezTo>
                  <a:cubicBezTo>
                    <a:pt x="90" y="142"/>
                    <a:pt x="144" y="89"/>
                    <a:pt x="209" y="89"/>
                  </a:cubicBezTo>
                  <a:cubicBezTo>
                    <a:pt x="275" y="89"/>
                    <a:pt x="328" y="142"/>
                    <a:pt x="328" y="208"/>
                  </a:cubicBezTo>
                  <a:cubicBezTo>
                    <a:pt x="328" y="273"/>
                    <a:pt x="275" y="326"/>
                    <a:pt x="209" y="326"/>
                  </a:cubicBezTo>
                  <a:close/>
                </a:path>
              </a:pathLst>
            </a:custGeom>
            <a:noFill/>
            <a:ln w="111125" cap="flat">
              <a:solidFill>
                <a:srgbClr val="0B318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對於</a:t>
            </a:r>
            <a:r>
              <a:rPr lang="en-US" altLang="zh-TW" dirty="0"/>
              <a:t>self-attention</a:t>
            </a:r>
            <a:r>
              <a:rPr lang="zh-TW" altLang="en-US" dirty="0"/>
              <a:t>來講，</a:t>
            </a:r>
            <a:r>
              <a:rPr lang="en-US" altLang="zh-TW" dirty="0"/>
              <a:t>Q(Query), K(Key), V(Value)</a:t>
            </a:r>
            <a:r>
              <a:rPr lang="zh-TW" altLang="en-US" dirty="0"/>
              <a:t>三個矩陣均來自同一輸入，首先我們要計算</a:t>
            </a:r>
            <a:r>
              <a:rPr lang="en-US" altLang="zh-TW" dirty="0"/>
              <a:t>Q</a:t>
            </a:r>
            <a:r>
              <a:rPr lang="zh-TW" altLang="en-US" dirty="0"/>
              <a:t>與</a:t>
            </a:r>
            <a:r>
              <a:rPr lang="en-US" altLang="zh-TW" dirty="0"/>
              <a:t>K</a:t>
            </a:r>
            <a:r>
              <a:rPr lang="zh-TW" altLang="en-US" dirty="0"/>
              <a:t>之間的點乘，然後為了防止其結果過大，會除以一個尺度標度 ，其中 為一個</a:t>
            </a:r>
            <a:r>
              <a:rPr lang="en-US" altLang="zh-TW" dirty="0"/>
              <a:t>query</a:t>
            </a:r>
            <a:r>
              <a:rPr lang="zh-TW" altLang="en-US" dirty="0"/>
              <a:t>和</a:t>
            </a:r>
            <a:r>
              <a:rPr lang="en-US" altLang="zh-TW" dirty="0"/>
              <a:t>key</a:t>
            </a:r>
            <a:r>
              <a:rPr lang="zh-TW" altLang="en-US" dirty="0"/>
              <a:t>向量的維度。再利用</a:t>
            </a:r>
            <a:r>
              <a:rPr lang="en-US" altLang="zh-TW" dirty="0" err="1"/>
              <a:t>Softmax</a:t>
            </a:r>
            <a:r>
              <a:rPr lang="zh-TW" altLang="en-US" dirty="0"/>
              <a:t>操作將其結果歸一化為概率分布，然後再乘以矩陣</a:t>
            </a:r>
            <a:r>
              <a:rPr lang="en-US" altLang="zh-TW" dirty="0"/>
              <a:t>V</a:t>
            </a:r>
            <a:r>
              <a:rPr lang="zh-TW" altLang="en-US" dirty="0"/>
              <a:t>就得到權重求和的表示。該操作可以表示為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39" y="2129835"/>
            <a:ext cx="36099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E:\Delete\git_r\two_month_report\202011_2021_1\11_31_to_12_4_fifth\img\scaled_dot_product_atten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276" y="2969068"/>
            <a:ext cx="2578100" cy="309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32506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ormer </a:t>
            </a:r>
            <a:r>
              <a:rPr lang="en-US" altLang="zh-CN" dirty="0" smtClean="0"/>
              <a:t>- </a:t>
            </a:r>
            <a:r>
              <a:rPr lang="en-US" altLang="zh-CN" dirty="0"/>
              <a:t>Self-Attention</a:t>
            </a:r>
            <a:endParaRPr lang="zh-CN" altLang="en-US" dirty="0"/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36" y="1235193"/>
            <a:ext cx="10995505" cy="102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E:\Delete\git_r\two_month_report\202011_2021_1\11_31_to_12_4_fifth\img\self_attention_q_k_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170" y="2357451"/>
            <a:ext cx="6750825" cy="4258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3802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08" y="1146521"/>
            <a:ext cx="11240290" cy="443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691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6146" name="Picture 2" descr="E:\Delete\git_r\two_month_report\202011_2021_1\11_31_to_12_4_fifth\img\self-attention-step_qk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091" y="1095154"/>
            <a:ext cx="5443046" cy="517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582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7171" name="Picture 3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48" y="1084317"/>
            <a:ext cx="9889802" cy="489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E:\Delete\git_r\two_month_report\202011_2021_1\11_31_to_12_4_fifth\img\self-attention-step_qkv_matri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854" y="1477924"/>
            <a:ext cx="4457237" cy="5047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9265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84" y="1131216"/>
            <a:ext cx="4537437" cy="650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 descr="E:\Delete\git_r\two_month_report\202011_2021_1\11_31_to_12_4_fifth\img\self-attention-step_qkv_softmax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605" y="2133526"/>
            <a:ext cx="8505825" cy="332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7575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Self-Attention</a:t>
            </a: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11" y="1133160"/>
            <a:ext cx="11445649" cy="298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876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66" y="1073600"/>
            <a:ext cx="11302330" cy="364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804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</a:t>
            </a:r>
            <a:r>
              <a:rPr lang="zh-TW" altLang="en-US" dirty="0"/>
              <a:t>如下</a:t>
            </a:r>
            <a:r>
              <a:rPr lang="en-US" altLang="zh-TW" dirty="0"/>
              <a:t>,</a:t>
            </a:r>
            <a:r>
              <a:rPr lang="zh-TW" altLang="en-US" dirty="0"/>
              <a:t>一個詞對應到多個</a:t>
            </a:r>
            <a:r>
              <a:rPr lang="en-US" altLang="zh-TW" dirty="0"/>
              <a:t>Attention Head(</a:t>
            </a:r>
            <a:r>
              <a:rPr lang="zh-TW" altLang="en-US" dirty="0"/>
              <a:t>論文裡寫</a:t>
            </a:r>
            <a:r>
              <a:rPr lang="en-US" altLang="zh-TW" dirty="0"/>
              <a:t>8</a:t>
            </a:r>
            <a:r>
              <a:rPr lang="zh-TW" altLang="en-US" dirty="0"/>
              <a:t>個</a:t>
            </a:r>
            <a:r>
              <a:rPr lang="en-US" altLang="zh-TW" dirty="0"/>
              <a:t>,w1 ~ w8</a:t>
            </a:r>
            <a:r>
              <a:rPr lang="en-US" altLang="zh-TW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11266" name="Picture 2" descr="E:\Delete\git_r\two_month_report\202011_2021_1\11_31_to_12_4_fifth\img\transformer_attention_heads_qk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067" y="1542547"/>
            <a:ext cx="8269803" cy="4886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834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特征矩陣經過一層全連接後得到輸出 </a:t>
            </a:r>
            <a:r>
              <a:rPr lang="en-US" altLang="zh-TW" b="1" dirty="0"/>
              <a:t>Z</a:t>
            </a:r>
            <a:endParaRPr lang="zh-TW" altLang="en-US" b="1" dirty="0"/>
          </a:p>
        </p:txBody>
      </p:sp>
      <p:pic>
        <p:nvPicPr>
          <p:cNvPr id="12290" name="Picture 2" descr="E:\Delete\git_r\two_month_report\202011_2021_1\11_31_to_12_4_fifth\img\multi-attention_combine_z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168" y="1626780"/>
            <a:ext cx="8514396" cy="471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5888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 err="1"/>
              <a:t>rnn</a:t>
            </a:r>
            <a:r>
              <a:rPr lang="en-US" altLang="zh-TW" dirty="0"/>
              <a:t>/seq2seq</a:t>
            </a:r>
            <a:r>
              <a:rPr lang="zh-TW" altLang="en-US" dirty="0"/>
              <a:t>的問題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Encoder &amp; Decoder Model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- Multi-Head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3.</a:t>
            </a:r>
            <a:r>
              <a:rPr lang="zh-TW" altLang="en-US" dirty="0"/>
              <a:t>最後八個注意力的計算結果合併輸出，整個流程如下</a:t>
            </a:r>
            <a:r>
              <a:rPr lang="zh-TW" altLang="en-US" dirty="0" smtClean="0"/>
              <a:t>圖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13314" name="Picture 2" descr="E:\Delete\git_r\two_month_report\202011_2021_1\11_31_to_12_4_fifth\img\transformer_multi_attention_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133" y="1500933"/>
            <a:ext cx="8412309" cy="4709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906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給</a:t>
            </a:r>
            <a:r>
              <a:rPr lang="en-US" altLang="zh-TW" dirty="0"/>
              <a:t>encoder</a:t>
            </a:r>
            <a:r>
              <a:rPr lang="zh-TW" altLang="en-US" dirty="0"/>
              <a:t>層和</a:t>
            </a:r>
            <a:r>
              <a:rPr lang="en-US" altLang="zh-TW" dirty="0"/>
              <a:t>decoder</a:t>
            </a:r>
            <a:r>
              <a:rPr lang="zh-TW" altLang="en-US" dirty="0"/>
              <a:t>層的輸入添加了一個額外的向量</a:t>
            </a:r>
            <a:r>
              <a:rPr lang="en-US" altLang="zh-TW" dirty="0"/>
              <a:t>Positional Encoding</a:t>
            </a:r>
            <a:r>
              <a:rPr lang="zh-TW" altLang="en-US" dirty="0"/>
              <a:t>作為釋輸入序列中單詞順序的</a:t>
            </a:r>
            <a:r>
              <a:rPr lang="zh-TW" altLang="en-US" dirty="0" smtClean="0"/>
              <a:t>方法</a:t>
            </a:r>
            <a:r>
              <a:rPr lang="en-US" altLang="zh-TW" dirty="0" smtClean="0"/>
              <a:t>,</a:t>
            </a:r>
            <a:r>
              <a:rPr lang="zh-TW" altLang="en-US" dirty="0"/>
              <a:t>最後把這個</a:t>
            </a:r>
            <a:r>
              <a:rPr lang="en-US" altLang="zh-TW" dirty="0"/>
              <a:t>Positional Encoding</a:t>
            </a:r>
            <a:r>
              <a:rPr lang="zh-TW" altLang="en-US" dirty="0"/>
              <a:t>與</a:t>
            </a:r>
            <a:r>
              <a:rPr lang="en-US" altLang="zh-TW" dirty="0"/>
              <a:t>embedding</a:t>
            </a:r>
            <a:r>
              <a:rPr lang="zh-TW" altLang="en-US" dirty="0"/>
              <a:t>的值相加，作為輸入送到下</a:t>
            </a:r>
            <a:r>
              <a:rPr lang="zh-TW" altLang="en-US" dirty="0" smtClean="0"/>
              <a:t>一層</a:t>
            </a:r>
            <a:endParaRPr lang="zh-TW" altLang="en-US" dirty="0"/>
          </a:p>
        </p:txBody>
      </p:sp>
      <p:pic>
        <p:nvPicPr>
          <p:cNvPr id="14338" name="Picture 2" descr="E:\Delete\git_r\two_month_report\202011_2021_1\11_31_to_12_4_fifth\img\position_lay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0892" y="1742259"/>
            <a:ext cx="8563323" cy="4722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2888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3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Positional Encoding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5362" name="Picture 2" descr="E:\Delete\git_r\two_month_report\202011_2021_1\11_31_to_12_4_fifth\img\position_encoding_formul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16" y="1092496"/>
            <a:ext cx="9913938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936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6386" name="Picture 2" descr="E:\Delete\git_r\two_month_report\202011_2021_1\11_31_to_12_4_fifth\img\transformer_resideual_layer_norm_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02" y="1188391"/>
            <a:ext cx="8419362" cy="478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924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- </a:t>
            </a:r>
            <a:r>
              <a:rPr lang="en-US" altLang="zh-TW" dirty="0"/>
              <a:t>Decod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編碼器通過處理輸入序列開啟工作。頂端編碼器的輸出之後會變轉化為一個包含向量</a:t>
            </a:r>
            <a:r>
              <a:rPr lang="en-US" altLang="zh-TW" dirty="0"/>
              <a:t>K</a:t>
            </a:r>
            <a:r>
              <a:rPr lang="zh-TW" altLang="en-US" dirty="0"/>
              <a:t>（鍵向量）和</a:t>
            </a:r>
            <a:r>
              <a:rPr lang="en-US" altLang="zh-TW" dirty="0"/>
              <a:t>V</a:t>
            </a:r>
            <a:r>
              <a:rPr lang="zh-TW" altLang="en-US" dirty="0"/>
              <a:t>（值向量）的注意力向量集。這些向量將被每個解碼器用於自身的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，而這些層可以幫助解碼器關注輸入序列哪些位置合適</a:t>
            </a:r>
          </a:p>
        </p:txBody>
      </p:sp>
      <p:pic>
        <p:nvPicPr>
          <p:cNvPr id="17410" name="Picture 2" descr="E:\Delete\git_r\two_month_report\202011_2021_1\11_31_to_12_4_fifth\img\transformer_decoding_1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908" y="2074986"/>
            <a:ext cx="8529084" cy="4685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6200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 </a:t>
            </a:r>
            <a:r>
              <a:rPr lang="en-US" altLang="zh-TW" dirty="0" smtClean="0"/>
              <a:t>– Decoder -</a:t>
            </a:r>
            <a:r>
              <a:rPr lang="zh-TW" altLang="en-US" b="0" dirty="0"/>
              <a:t>整體解碼過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18434" name="Picture 2" descr="E:\Delete\git_r\two_month_report\202011_2021_1\11_31_to_12_4_fifth\img\transformer_decoding_2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21" y="1137684"/>
            <a:ext cx="9694307" cy="532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71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Encoder-Decoder 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在完成編碼階段後，則開始解碼階段。解碼階段的每個步驟都會輸出一個輸出序列（在這個例子里，是英語翻譯的句子）的元素。接下來的步驟重覆了這個過程，直到到達一個特殊的終止符號，它表示</a:t>
            </a:r>
            <a:r>
              <a:rPr lang="en-US" altLang="zh-TW" dirty="0"/>
              <a:t>transformer</a:t>
            </a:r>
            <a:r>
              <a:rPr lang="zh-TW" altLang="en-US" dirty="0"/>
              <a:t>的解碼器已經完成了它的輸出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每</a:t>
            </a:r>
            <a:r>
              <a:rPr lang="zh-TW" altLang="en-US" dirty="0"/>
              <a:t>個步驟的輸出在下一個時間步被提供給底端解碼器，並且就像編碼器之前做的那樣，這些解碼器會輸出它們的解碼結果。另外，就像我們對編碼器的輸入所做的那樣，我們會嵌入並添加位置編碼給那些解碼器，來表示每個單詞的位置。</a:t>
            </a:r>
          </a:p>
          <a:p>
            <a:endParaRPr lang="en-US" altLang="zh-TW" dirty="0" smtClean="0"/>
          </a:p>
          <a:p>
            <a:r>
              <a:rPr lang="zh-TW" altLang="en-US" dirty="0" smtClean="0"/>
              <a:t>而</a:t>
            </a:r>
            <a:r>
              <a:rPr lang="zh-TW" altLang="en-US" dirty="0"/>
              <a:t>那些解碼器中的自注意力層表現的模式與編碼器不同：在解碼器中，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自注意力層只被允許處理輸出序列中更靠前的那些位置。在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softmax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步驟前，它會把後面的位置給隱去（把它們設為</a:t>
            </a:r>
            <a:r>
              <a:rPr lang="en-US" altLang="zh-TW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-</a:t>
            </a:r>
            <a:r>
              <a:rPr lang="en-US" altLang="zh-TW" dirty="0" err="1">
                <a:solidFill>
                  <a:schemeClr val="accent1">
                    <a:lumMod val="75000"/>
                    <a:lumOff val="25000"/>
                  </a:schemeClr>
                </a:solidFill>
              </a:rPr>
              <a:t>inf</a:t>
            </a:r>
            <a:r>
              <a:rPr lang="zh-TW" altLang="en-U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）。</a:t>
            </a:r>
            <a:r>
              <a:rPr lang="zh-TW" altLang="en-US" dirty="0"/>
              <a:t>這個“編碼</a:t>
            </a:r>
            <a:r>
              <a:rPr lang="en-US" altLang="zh-TW" dirty="0"/>
              <a:t>-</a:t>
            </a:r>
            <a:r>
              <a:rPr lang="zh-TW" altLang="en-US" dirty="0"/>
              <a:t>解碼注意力層”工作方式基本就像多頭自注意力層一樣，只不過它是通過在它前面的層來創造查詢矩陣，並且從編碼器的輸出中取得鍵</a:t>
            </a:r>
            <a:r>
              <a:rPr lang="en-US" altLang="zh-TW" dirty="0"/>
              <a:t>/</a:t>
            </a:r>
            <a:r>
              <a:rPr lang="zh-TW" altLang="en-US" dirty="0"/>
              <a:t>值矩陣。</a:t>
            </a:r>
          </a:p>
          <a:p>
            <a:endParaRPr lang="zh-TW" altLang="en-US" dirty="0"/>
          </a:p>
        </p:txBody>
      </p:sp>
      <p:grpSp>
        <p:nvGrpSpPr>
          <p:cNvPr id="6" name="0faae1e5-443b-4bd8-857c-6457c01334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919045" y="4652988"/>
            <a:ext cx="2261954" cy="2095465"/>
            <a:chOff x="3594100" y="1166813"/>
            <a:chExt cx="5003800" cy="4635500"/>
          </a:xfrm>
        </p:grpSpPr>
        <p:sp>
          <p:nvSpPr>
            <p:cNvPr id="7" name="îṥľï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770AB72-5A88-4AF7-8638-EDB0B470A8DD}"/>
                </a:ext>
              </a:extLst>
            </p:cNvPr>
            <p:cNvSpPr/>
            <p:nvPr/>
          </p:nvSpPr>
          <p:spPr bwMode="auto">
            <a:xfrm>
              <a:off x="3594100" y="2917825"/>
              <a:ext cx="5003800" cy="2884488"/>
            </a:xfrm>
            <a:custGeom>
              <a:avLst/>
              <a:gdLst>
                <a:gd name="T0" fmla="*/ 1624 w 1976"/>
                <a:gd name="T1" fmla="*/ 203 h 1141"/>
                <a:gd name="T2" fmla="*/ 1624 w 1976"/>
                <a:gd name="T3" fmla="*/ 938 h 1141"/>
                <a:gd name="T4" fmla="*/ 352 w 1976"/>
                <a:gd name="T5" fmla="*/ 938 h 1141"/>
                <a:gd name="T6" fmla="*/ 352 w 1976"/>
                <a:gd name="T7" fmla="*/ 203 h 1141"/>
                <a:gd name="T8" fmla="*/ 1624 w 1976"/>
                <a:gd name="T9" fmla="*/ 203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6" h="1141">
                  <a:moveTo>
                    <a:pt x="1624" y="203"/>
                  </a:moveTo>
                  <a:cubicBezTo>
                    <a:pt x="1976" y="406"/>
                    <a:pt x="1976" y="735"/>
                    <a:pt x="1624" y="938"/>
                  </a:cubicBezTo>
                  <a:cubicBezTo>
                    <a:pt x="1273" y="1141"/>
                    <a:pt x="703" y="1141"/>
                    <a:pt x="352" y="938"/>
                  </a:cubicBezTo>
                  <a:cubicBezTo>
                    <a:pt x="0" y="735"/>
                    <a:pt x="0" y="406"/>
                    <a:pt x="352" y="203"/>
                  </a:cubicBezTo>
                  <a:cubicBezTo>
                    <a:pt x="703" y="0"/>
                    <a:pt x="1273" y="0"/>
                    <a:pt x="1624" y="20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î$lí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DA15EBB-9004-4885-8A30-04DF837C3BC3}"/>
                </a:ext>
              </a:extLst>
            </p:cNvPr>
            <p:cNvSpPr/>
            <p:nvPr/>
          </p:nvSpPr>
          <p:spPr bwMode="auto">
            <a:xfrm>
              <a:off x="6665913" y="4341813"/>
              <a:ext cx="1212850" cy="696913"/>
            </a:xfrm>
            <a:custGeom>
              <a:avLst/>
              <a:gdLst>
                <a:gd name="T0" fmla="*/ 393 w 479"/>
                <a:gd name="T1" fmla="*/ 49 h 276"/>
                <a:gd name="T2" fmla="*/ 393 w 479"/>
                <a:gd name="T3" fmla="*/ 227 h 276"/>
                <a:gd name="T4" fmla="*/ 85 w 479"/>
                <a:gd name="T5" fmla="*/ 227 h 276"/>
                <a:gd name="T6" fmla="*/ 85 w 479"/>
                <a:gd name="T7" fmla="*/ 49 h 276"/>
                <a:gd name="T8" fmla="*/ 393 w 479"/>
                <a:gd name="T9" fmla="*/ 4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276">
                  <a:moveTo>
                    <a:pt x="393" y="49"/>
                  </a:moveTo>
                  <a:cubicBezTo>
                    <a:pt x="479" y="98"/>
                    <a:pt x="479" y="178"/>
                    <a:pt x="393" y="227"/>
                  </a:cubicBezTo>
                  <a:cubicBezTo>
                    <a:pt x="308" y="276"/>
                    <a:pt x="170" y="276"/>
                    <a:pt x="85" y="227"/>
                  </a:cubicBezTo>
                  <a:cubicBezTo>
                    <a:pt x="0" y="178"/>
                    <a:pt x="0" y="98"/>
                    <a:pt x="85" y="49"/>
                  </a:cubicBezTo>
                  <a:cubicBezTo>
                    <a:pt x="170" y="0"/>
                    <a:pt x="308" y="0"/>
                    <a:pt x="393" y="49"/>
                  </a:cubicBezTo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íśl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8190C86-E6E9-45B1-BA33-C7ED0D7E932E}"/>
                </a:ext>
              </a:extLst>
            </p:cNvPr>
            <p:cNvSpPr/>
            <p:nvPr/>
          </p:nvSpPr>
          <p:spPr bwMode="auto">
            <a:xfrm>
              <a:off x="4287838" y="1166813"/>
              <a:ext cx="1160463" cy="1433513"/>
            </a:xfrm>
            <a:custGeom>
              <a:avLst/>
              <a:gdLst>
                <a:gd name="T0" fmla="*/ 342 w 458"/>
                <a:gd name="T1" fmla="*/ 21 h 567"/>
                <a:gd name="T2" fmla="*/ 200 w 458"/>
                <a:gd name="T3" fmla="*/ 35 h 567"/>
                <a:gd name="T4" fmla="*/ 0 w 458"/>
                <a:gd name="T5" fmla="*/ 383 h 567"/>
                <a:gd name="T6" fmla="*/ 59 w 458"/>
                <a:gd name="T7" fmla="*/ 513 h 567"/>
                <a:gd name="T8" fmla="*/ 116 w 458"/>
                <a:gd name="T9" fmla="*/ 546 h 567"/>
                <a:gd name="T10" fmla="*/ 258 w 458"/>
                <a:gd name="T11" fmla="*/ 532 h 567"/>
                <a:gd name="T12" fmla="*/ 458 w 458"/>
                <a:gd name="T13" fmla="*/ 184 h 567"/>
                <a:gd name="T14" fmla="*/ 400 w 458"/>
                <a:gd name="T15" fmla="*/ 54 h 567"/>
                <a:gd name="T16" fmla="*/ 342 w 458"/>
                <a:gd name="T17" fmla="*/ 21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8" h="567">
                  <a:moveTo>
                    <a:pt x="342" y="21"/>
                  </a:moveTo>
                  <a:cubicBezTo>
                    <a:pt x="306" y="0"/>
                    <a:pt x="256" y="3"/>
                    <a:pt x="200" y="35"/>
                  </a:cubicBezTo>
                  <a:cubicBezTo>
                    <a:pt x="90" y="99"/>
                    <a:pt x="0" y="255"/>
                    <a:pt x="0" y="383"/>
                  </a:cubicBezTo>
                  <a:cubicBezTo>
                    <a:pt x="0" y="447"/>
                    <a:pt x="22" y="492"/>
                    <a:pt x="59" y="513"/>
                  </a:cubicBezTo>
                  <a:cubicBezTo>
                    <a:pt x="68" y="518"/>
                    <a:pt x="106" y="540"/>
                    <a:pt x="116" y="546"/>
                  </a:cubicBezTo>
                  <a:cubicBezTo>
                    <a:pt x="152" y="567"/>
                    <a:pt x="202" y="564"/>
                    <a:pt x="258" y="532"/>
                  </a:cubicBezTo>
                  <a:cubicBezTo>
                    <a:pt x="368" y="468"/>
                    <a:pt x="458" y="312"/>
                    <a:pt x="458" y="184"/>
                  </a:cubicBezTo>
                  <a:cubicBezTo>
                    <a:pt x="458" y="120"/>
                    <a:pt x="436" y="75"/>
                    <a:pt x="400" y="54"/>
                  </a:cubicBezTo>
                  <a:cubicBezTo>
                    <a:pt x="342" y="21"/>
                    <a:pt x="342" y="21"/>
                    <a:pt x="342" y="2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ïṣl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E1054B4-BB22-4201-8680-317D1798C689}"/>
                </a:ext>
              </a:extLst>
            </p:cNvPr>
            <p:cNvSpPr/>
            <p:nvPr/>
          </p:nvSpPr>
          <p:spPr bwMode="auto">
            <a:xfrm>
              <a:off x="4287838" y="2135188"/>
              <a:ext cx="468313" cy="444500"/>
            </a:xfrm>
            <a:custGeom>
              <a:avLst/>
              <a:gdLst>
                <a:gd name="T0" fmla="*/ 116 w 185"/>
                <a:gd name="T1" fmla="*/ 163 h 176"/>
                <a:gd name="T2" fmla="*/ 168 w 185"/>
                <a:gd name="T3" fmla="*/ 176 h 176"/>
                <a:gd name="T4" fmla="*/ 185 w 185"/>
                <a:gd name="T5" fmla="*/ 175 h 176"/>
                <a:gd name="T6" fmla="*/ 168 w 185"/>
                <a:gd name="T7" fmla="*/ 176 h 176"/>
                <a:gd name="T8" fmla="*/ 116 w 185"/>
                <a:gd name="T9" fmla="*/ 163 h 176"/>
                <a:gd name="T10" fmla="*/ 0 w 185"/>
                <a:gd name="T11" fmla="*/ 0 h 176"/>
                <a:gd name="T12" fmla="*/ 0 w 185"/>
                <a:gd name="T13" fmla="*/ 0 h 176"/>
                <a:gd name="T14" fmla="*/ 0 w 185"/>
                <a:gd name="T15" fmla="*/ 0 h 176"/>
                <a:gd name="T16" fmla="*/ 0 w 185"/>
                <a:gd name="T17" fmla="*/ 0 h 176"/>
                <a:gd name="T18" fmla="*/ 0 w 185"/>
                <a:gd name="T1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76">
                  <a:moveTo>
                    <a:pt x="116" y="163"/>
                  </a:move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179" y="176"/>
                    <a:pt x="174" y="176"/>
                    <a:pt x="168" y="176"/>
                  </a:cubicBezTo>
                  <a:cubicBezTo>
                    <a:pt x="149" y="176"/>
                    <a:pt x="131" y="171"/>
                    <a:pt x="116" y="163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îs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E20615-C0EB-48FA-A322-DB16E7B101E6}"/>
                </a:ext>
              </a:extLst>
            </p:cNvPr>
            <p:cNvSpPr/>
            <p:nvPr/>
          </p:nvSpPr>
          <p:spPr bwMode="auto">
            <a:xfrm>
              <a:off x="4287838" y="2135188"/>
              <a:ext cx="652463" cy="444500"/>
            </a:xfrm>
            <a:custGeom>
              <a:avLst/>
              <a:gdLst>
                <a:gd name="T0" fmla="*/ 0 w 258"/>
                <a:gd name="T1" fmla="*/ 0 h 176"/>
                <a:gd name="T2" fmla="*/ 0 w 258"/>
                <a:gd name="T3" fmla="*/ 0 h 176"/>
                <a:gd name="T4" fmla="*/ 59 w 258"/>
                <a:gd name="T5" fmla="*/ 130 h 176"/>
                <a:gd name="T6" fmla="*/ 116 w 258"/>
                <a:gd name="T7" fmla="*/ 163 h 176"/>
                <a:gd name="T8" fmla="*/ 116 w 258"/>
                <a:gd name="T9" fmla="*/ 163 h 176"/>
                <a:gd name="T10" fmla="*/ 168 w 258"/>
                <a:gd name="T11" fmla="*/ 176 h 176"/>
                <a:gd name="T12" fmla="*/ 185 w 258"/>
                <a:gd name="T13" fmla="*/ 175 h 176"/>
                <a:gd name="T14" fmla="*/ 258 w 258"/>
                <a:gd name="T15" fmla="*/ 149 h 176"/>
                <a:gd name="T16" fmla="*/ 0 w 258"/>
                <a:gd name="T1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1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22" y="109"/>
                    <a:pt x="59" y="130"/>
                  </a:cubicBezTo>
                  <a:cubicBezTo>
                    <a:pt x="68" y="135"/>
                    <a:pt x="106" y="157"/>
                    <a:pt x="116" y="163"/>
                  </a:cubicBezTo>
                  <a:cubicBezTo>
                    <a:pt x="116" y="163"/>
                    <a:pt x="116" y="163"/>
                    <a:pt x="116" y="163"/>
                  </a:cubicBezTo>
                  <a:cubicBezTo>
                    <a:pt x="131" y="171"/>
                    <a:pt x="149" y="176"/>
                    <a:pt x="168" y="176"/>
                  </a:cubicBezTo>
                  <a:cubicBezTo>
                    <a:pt x="174" y="176"/>
                    <a:pt x="179" y="176"/>
                    <a:pt x="185" y="175"/>
                  </a:cubicBezTo>
                  <a:cubicBezTo>
                    <a:pt x="208" y="172"/>
                    <a:pt x="232" y="163"/>
                    <a:pt x="258" y="14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iş1i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31A11C8-FEE9-40B4-AAD5-C8C99066E5BD}"/>
                </a:ext>
              </a:extLst>
            </p:cNvPr>
            <p:cNvSpPr/>
            <p:nvPr/>
          </p:nvSpPr>
          <p:spPr bwMode="auto">
            <a:xfrm>
              <a:off x="4287838" y="2130425"/>
              <a:ext cx="655638" cy="377825"/>
            </a:xfrm>
            <a:custGeom>
              <a:avLst/>
              <a:gdLst>
                <a:gd name="T0" fmla="*/ 258 w 259"/>
                <a:gd name="T1" fmla="*/ 150 h 150"/>
                <a:gd name="T2" fmla="*/ 258 w 259"/>
                <a:gd name="T3" fmla="*/ 150 h 150"/>
                <a:gd name="T4" fmla="*/ 258 w 259"/>
                <a:gd name="T5" fmla="*/ 150 h 150"/>
                <a:gd name="T6" fmla="*/ 259 w 259"/>
                <a:gd name="T7" fmla="*/ 150 h 150"/>
                <a:gd name="T8" fmla="*/ 258 w 259"/>
                <a:gd name="T9" fmla="*/ 150 h 150"/>
                <a:gd name="T10" fmla="*/ 259 w 259"/>
                <a:gd name="T11" fmla="*/ 150 h 150"/>
                <a:gd name="T12" fmla="*/ 259 w 259"/>
                <a:gd name="T13" fmla="*/ 150 h 150"/>
                <a:gd name="T14" fmla="*/ 259 w 259"/>
                <a:gd name="T15" fmla="*/ 150 h 150"/>
                <a:gd name="T16" fmla="*/ 259 w 259"/>
                <a:gd name="T17" fmla="*/ 150 h 150"/>
                <a:gd name="T18" fmla="*/ 259 w 259"/>
                <a:gd name="T19" fmla="*/ 150 h 150"/>
                <a:gd name="T20" fmla="*/ 259 w 259"/>
                <a:gd name="T21" fmla="*/ 150 h 150"/>
                <a:gd name="T22" fmla="*/ 259 w 259"/>
                <a:gd name="T23" fmla="*/ 150 h 150"/>
                <a:gd name="T24" fmla="*/ 0 w 259"/>
                <a:gd name="T25" fmla="*/ 2 h 150"/>
                <a:gd name="T26" fmla="*/ 0 w 259"/>
                <a:gd name="T27" fmla="*/ 2 h 150"/>
                <a:gd name="T28" fmla="*/ 0 w 259"/>
                <a:gd name="T29" fmla="*/ 2 h 150"/>
                <a:gd name="T30" fmla="*/ 0 w 259"/>
                <a:gd name="T31" fmla="*/ 2 h 150"/>
                <a:gd name="T32" fmla="*/ 0 w 259"/>
                <a:gd name="T33" fmla="*/ 1 h 150"/>
                <a:gd name="T34" fmla="*/ 0 w 259"/>
                <a:gd name="T35" fmla="*/ 1 h 150"/>
                <a:gd name="T36" fmla="*/ 0 w 259"/>
                <a:gd name="T37" fmla="*/ 1 h 150"/>
                <a:gd name="T38" fmla="*/ 0 w 259"/>
                <a:gd name="T39" fmla="*/ 1 h 150"/>
                <a:gd name="T40" fmla="*/ 0 w 259"/>
                <a:gd name="T41" fmla="*/ 1 h 150"/>
                <a:gd name="T42" fmla="*/ 0 w 259"/>
                <a:gd name="T43" fmla="*/ 1 h 150"/>
                <a:gd name="T44" fmla="*/ 0 w 259"/>
                <a:gd name="T45" fmla="*/ 0 h 150"/>
                <a:gd name="T46" fmla="*/ 0 w 259"/>
                <a:gd name="T47" fmla="*/ 0 h 150"/>
                <a:gd name="T48" fmla="*/ 0 w 259"/>
                <a:gd name="T49" fmla="*/ 0 h 150"/>
                <a:gd name="T50" fmla="*/ 0 w 259"/>
                <a:gd name="T51" fmla="*/ 0 h 150"/>
                <a:gd name="T52" fmla="*/ 0 w 259"/>
                <a:gd name="T53" fmla="*/ 0 h 150"/>
                <a:gd name="T54" fmla="*/ 0 w 259"/>
                <a:gd name="T5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9" h="150">
                  <a:moveTo>
                    <a:pt x="258" y="150"/>
                  </a:move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0"/>
                    <a:pt x="258" y="150"/>
                  </a:cubicBezTo>
                  <a:moveTo>
                    <a:pt x="259" y="150"/>
                  </a:moveTo>
                  <a:cubicBezTo>
                    <a:pt x="259" y="150"/>
                    <a:pt x="258" y="150"/>
                    <a:pt x="258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259" y="150"/>
                  </a:moveTo>
                  <a:cubicBezTo>
                    <a:pt x="259" y="150"/>
                    <a:pt x="259" y="150"/>
                    <a:pt x="259" y="150"/>
                  </a:cubicBezTo>
                  <a:cubicBezTo>
                    <a:pt x="259" y="150"/>
                    <a:pt x="259" y="150"/>
                    <a:pt x="259" y="150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íŝḷ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1362E7-A3A1-4ED7-B130-E68938045213}"/>
                </a:ext>
              </a:extLst>
            </p:cNvPr>
            <p:cNvSpPr/>
            <p:nvPr/>
          </p:nvSpPr>
          <p:spPr bwMode="auto">
            <a:xfrm>
              <a:off x="4287838" y="1785938"/>
              <a:ext cx="915988" cy="725488"/>
            </a:xfrm>
            <a:custGeom>
              <a:avLst/>
              <a:gdLst>
                <a:gd name="T0" fmla="*/ 29 w 362"/>
                <a:gd name="T1" fmla="*/ 0 h 287"/>
                <a:gd name="T2" fmla="*/ 0 w 362"/>
                <a:gd name="T3" fmla="*/ 136 h 287"/>
                <a:gd name="T4" fmla="*/ 0 w 362"/>
                <a:gd name="T5" fmla="*/ 136 h 287"/>
                <a:gd name="T6" fmla="*/ 0 w 362"/>
                <a:gd name="T7" fmla="*/ 136 h 287"/>
                <a:gd name="T8" fmla="*/ 0 w 362"/>
                <a:gd name="T9" fmla="*/ 136 h 287"/>
                <a:gd name="T10" fmla="*/ 0 w 362"/>
                <a:gd name="T11" fmla="*/ 137 h 287"/>
                <a:gd name="T12" fmla="*/ 0 w 362"/>
                <a:gd name="T13" fmla="*/ 137 h 287"/>
                <a:gd name="T14" fmla="*/ 0 w 362"/>
                <a:gd name="T15" fmla="*/ 137 h 287"/>
                <a:gd name="T16" fmla="*/ 0 w 362"/>
                <a:gd name="T17" fmla="*/ 137 h 287"/>
                <a:gd name="T18" fmla="*/ 0 w 362"/>
                <a:gd name="T19" fmla="*/ 138 h 287"/>
                <a:gd name="T20" fmla="*/ 0 w 362"/>
                <a:gd name="T21" fmla="*/ 138 h 287"/>
                <a:gd name="T22" fmla="*/ 258 w 362"/>
                <a:gd name="T23" fmla="*/ 287 h 287"/>
                <a:gd name="T24" fmla="*/ 258 w 362"/>
                <a:gd name="T25" fmla="*/ 287 h 287"/>
                <a:gd name="T26" fmla="*/ 258 w 362"/>
                <a:gd name="T27" fmla="*/ 286 h 287"/>
                <a:gd name="T28" fmla="*/ 258 w 362"/>
                <a:gd name="T29" fmla="*/ 286 h 287"/>
                <a:gd name="T30" fmla="*/ 258 w 362"/>
                <a:gd name="T31" fmla="*/ 286 h 287"/>
                <a:gd name="T32" fmla="*/ 259 w 362"/>
                <a:gd name="T33" fmla="*/ 286 h 287"/>
                <a:gd name="T34" fmla="*/ 259 w 362"/>
                <a:gd name="T35" fmla="*/ 286 h 287"/>
                <a:gd name="T36" fmla="*/ 259 w 362"/>
                <a:gd name="T37" fmla="*/ 286 h 287"/>
                <a:gd name="T38" fmla="*/ 259 w 362"/>
                <a:gd name="T39" fmla="*/ 286 h 287"/>
                <a:gd name="T40" fmla="*/ 259 w 362"/>
                <a:gd name="T41" fmla="*/ 286 h 287"/>
                <a:gd name="T42" fmla="*/ 362 w 362"/>
                <a:gd name="T43" fmla="*/ 193 h 287"/>
                <a:gd name="T44" fmla="*/ 29 w 362"/>
                <a:gd name="T45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2" h="287">
                  <a:moveTo>
                    <a:pt x="29" y="0"/>
                  </a:moveTo>
                  <a:cubicBezTo>
                    <a:pt x="11" y="45"/>
                    <a:pt x="0" y="92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7"/>
                    <a:pt x="258" y="287"/>
                  </a:cubicBezTo>
                  <a:cubicBezTo>
                    <a:pt x="258" y="287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7" y="264"/>
                    <a:pt x="332" y="231"/>
                    <a:pt x="362" y="193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ïṧ1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75B059C-FBD6-415F-9351-63442A7CA8BA}"/>
                </a:ext>
              </a:extLst>
            </p:cNvPr>
            <p:cNvSpPr/>
            <p:nvPr/>
          </p:nvSpPr>
          <p:spPr bwMode="auto">
            <a:xfrm>
              <a:off x="4789488" y="1255713"/>
              <a:ext cx="658813" cy="414338"/>
            </a:xfrm>
            <a:custGeom>
              <a:avLst/>
              <a:gdLst>
                <a:gd name="T0" fmla="*/ 260 w 260"/>
                <a:gd name="T1" fmla="*/ 164 h 164"/>
                <a:gd name="T2" fmla="*/ 260 w 260"/>
                <a:gd name="T3" fmla="*/ 163 h 164"/>
                <a:gd name="T4" fmla="*/ 260 w 260"/>
                <a:gd name="T5" fmla="*/ 163 h 164"/>
                <a:gd name="T6" fmla="*/ 260 w 260"/>
                <a:gd name="T7" fmla="*/ 162 h 164"/>
                <a:gd name="T8" fmla="*/ 260 w 260"/>
                <a:gd name="T9" fmla="*/ 161 h 164"/>
                <a:gd name="T10" fmla="*/ 260 w 260"/>
                <a:gd name="T11" fmla="*/ 161 h 164"/>
                <a:gd name="T12" fmla="*/ 260 w 260"/>
                <a:gd name="T13" fmla="*/ 160 h 164"/>
                <a:gd name="T14" fmla="*/ 260 w 260"/>
                <a:gd name="T15" fmla="*/ 159 h 164"/>
                <a:gd name="T16" fmla="*/ 260 w 260"/>
                <a:gd name="T17" fmla="*/ 159 h 164"/>
                <a:gd name="T18" fmla="*/ 260 w 260"/>
                <a:gd name="T19" fmla="*/ 159 h 164"/>
                <a:gd name="T20" fmla="*/ 260 w 260"/>
                <a:gd name="T21" fmla="*/ 158 h 164"/>
                <a:gd name="T22" fmla="*/ 260 w 260"/>
                <a:gd name="T23" fmla="*/ 158 h 164"/>
                <a:gd name="T24" fmla="*/ 260 w 260"/>
                <a:gd name="T25" fmla="*/ 158 h 164"/>
                <a:gd name="T26" fmla="*/ 260 w 260"/>
                <a:gd name="T27" fmla="*/ 157 h 164"/>
                <a:gd name="T28" fmla="*/ 260 w 260"/>
                <a:gd name="T29" fmla="*/ 157 h 164"/>
                <a:gd name="T30" fmla="*/ 260 w 260"/>
                <a:gd name="T31" fmla="*/ 157 h 164"/>
                <a:gd name="T32" fmla="*/ 260 w 260"/>
                <a:gd name="T33" fmla="*/ 156 h 164"/>
                <a:gd name="T34" fmla="*/ 260 w 260"/>
                <a:gd name="T35" fmla="*/ 156 h 164"/>
                <a:gd name="T36" fmla="*/ 260 w 260"/>
                <a:gd name="T37" fmla="*/ 155 h 164"/>
                <a:gd name="T38" fmla="*/ 260 w 260"/>
                <a:gd name="T39" fmla="*/ 155 h 164"/>
                <a:gd name="T40" fmla="*/ 260 w 260"/>
                <a:gd name="T41" fmla="*/ 155 h 164"/>
                <a:gd name="T42" fmla="*/ 260 w 260"/>
                <a:gd name="T43" fmla="*/ 154 h 164"/>
                <a:gd name="T44" fmla="*/ 260 w 260"/>
                <a:gd name="T45" fmla="*/ 153 h 164"/>
                <a:gd name="T46" fmla="*/ 260 w 260"/>
                <a:gd name="T47" fmla="*/ 153 h 164"/>
                <a:gd name="T48" fmla="*/ 260 w 260"/>
                <a:gd name="T49" fmla="*/ 153 h 164"/>
                <a:gd name="T50" fmla="*/ 260 w 260"/>
                <a:gd name="T51" fmla="*/ 153 h 164"/>
                <a:gd name="T52" fmla="*/ 260 w 260"/>
                <a:gd name="T53" fmla="*/ 153 h 164"/>
                <a:gd name="T54" fmla="*/ 260 w 260"/>
                <a:gd name="T55" fmla="*/ 152 h 164"/>
                <a:gd name="T56" fmla="*/ 260 w 260"/>
                <a:gd name="T57" fmla="*/ 152 h 164"/>
                <a:gd name="T58" fmla="*/ 260 w 260"/>
                <a:gd name="T59" fmla="*/ 152 h 164"/>
                <a:gd name="T60" fmla="*/ 260 w 260"/>
                <a:gd name="T61" fmla="*/ 151 h 164"/>
                <a:gd name="T62" fmla="*/ 260 w 260"/>
                <a:gd name="T63" fmla="*/ 151 h 164"/>
                <a:gd name="T64" fmla="*/ 260 w 260"/>
                <a:gd name="T65" fmla="*/ 151 h 164"/>
                <a:gd name="T66" fmla="*/ 260 w 260"/>
                <a:gd name="T67" fmla="*/ 150 h 164"/>
                <a:gd name="T68" fmla="*/ 260 w 260"/>
                <a:gd name="T69" fmla="*/ 150 h 164"/>
                <a:gd name="T70" fmla="*/ 260 w 260"/>
                <a:gd name="T71" fmla="*/ 150 h 164"/>
                <a:gd name="T72" fmla="*/ 0 w 260"/>
                <a:gd name="T73" fmla="*/ 2 h 164"/>
                <a:gd name="T74" fmla="*/ 1 w 260"/>
                <a:gd name="T75" fmla="*/ 1 h 164"/>
                <a:gd name="T76" fmla="*/ 1 w 260"/>
                <a:gd name="T77" fmla="*/ 1 h 164"/>
                <a:gd name="T78" fmla="*/ 1 w 260"/>
                <a:gd name="T79" fmla="*/ 1 h 164"/>
                <a:gd name="T80" fmla="*/ 1 w 260"/>
                <a:gd name="T81" fmla="*/ 1 h 164"/>
                <a:gd name="T82" fmla="*/ 1 w 260"/>
                <a:gd name="T83" fmla="*/ 1 h 164"/>
                <a:gd name="T84" fmla="*/ 2 w 260"/>
                <a:gd name="T85" fmla="*/ 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0" h="164">
                  <a:moveTo>
                    <a:pt x="260" y="164"/>
                  </a:moveTo>
                  <a:cubicBezTo>
                    <a:pt x="260" y="164"/>
                    <a:pt x="260" y="164"/>
                    <a:pt x="260" y="164"/>
                  </a:cubicBezTo>
                  <a:cubicBezTo>
                    <a:pt x="260" y="164"/>
                    <a:pt x="260" y="164"/>
                    <a:pt x="260" y="164"/>
                  </a:cubicBezTo>
                  <a:moveTo>
                    <a:pt x="260" y="163"/>
                  </a:move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moveTo>
                    <a:pt x="260" y="162"/>
                  </a:moveTo>
                  <a:cubicBezTo>
                    <a:pt x="260" y="162"/>
                    <a:pt x="260" y="162"/>
                    <a:pt x="260" y="162"/>
                  </a:cubicBezTo>
                  <a:cubicBezTo>
                    <a:pt x="260" y="162"/>
                    <a:pt x="260" y="162"/>
                    <a:pt x="260" y="162"/>
                  </a:cubicBezTo>
                  <a:moveTo>
                    <a:pt x="260" y="161"/>
                  </a:moveTo>
                  <a:cubicBezTo>
                    <a:pt x="260" y="161"/>
                    <a:pt x="260" y="161"/>
                    <a:pt x="260" y="161"/>
                  </a:cubicBezTo>
                  <a:cubicBezTo>
                    <a:pt x="260" y="161"/>
                    <a:pt x="260" y="161"/>
                    <a:pt x="260" y="161"/>
                  </a:cubicBezTo>
                  <a:moveTo>
                    <a:pt x="260" y="160"/>
                  </a:moveTo>
                  <a:cubicBezTo>
                    <a:pt x="260" y="160"/>
                    <a:pt x="260" y="160"/>
                    <a:pt x="260" y="160"/>
                  </a:cubicBezTo>
                  <a:cubicBezTo>
                    <a:pt x="260" y="160"/>
                    <a:pt x="260" y="160"/>
                    <a:pt x="260" y="160"/>
                  </a:cubicBezTo>
                  <a:moveTo>
                    <a:pt x="260" y="159"/>
                  </a:moveTo>
                  <a:cubicBezTo>
                    <a:pt x="260" y="159"/>
                    <a:pt x="260" y="160"/>
                    <a:pt x="260" y="160"/>
                  </a:cubicBezTo>
                  <a:cubicBezTo>
                    <a:pt x="260" y="160"/>
                    <a:pt x="260" y="159"/>
                    <a:pt x="260" y="159"/>
                  </a:cubicBezTo>
                  <a:moveTo>
                    <a:pt x="260" y="159"/>
                  </a:moveTo>
                  <a:cubicBezTo>
                    <a:pt x="260" y="159"/>
                    <a:pt x="260" y="159"/>
                    <a:pt x="260" y="159"/>
                  </a:cubicBezTo>
                  <a:cubicBezTo>
                    <a:pt x="260" y="159"/>
                    <a:pt x="260" y="159"/>
                    <a:pt x="260" y="159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8"/>
                  </a:moveTo>
                  <a:cubicBezTo>
                    <a:pt x="260" y="158"/>
                    <a:pt x="260" y="158"/>
                    <a:pt x="260" y="158"/>
                  </a:cubicBezTo>
                  <a:cubicBezTo>
                    <a:pt x="260" y="158"/>
                    <a:pt x="260" y="158"/>
                    <a:pt x="260" y="158"/>
                  </a:cubicBezTo>
                  <a:moveTo>
                    <a:pt x="260" y="157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7"/>
                  </a:cubicBezTo>
                  <a:moveTo>
                    <a:pt x="260" y="156"/>
                  </a:moveTo>
                  <a:cubicBezTo>
                    <a:pt x="260" y="157"/>
                    <a:pt x="260" y="157"/>
                    <a:pt x="260" y="157"/>
                  </a:cubicBezTo>
                  <a:cubicBezTo>
                    <a:pt x="260" y="157"/>
                    <a:pt x="260" y="157"/>
                    <a:pt x="260" y="156"/>
                  </a:cubicBezTo>
                  <a:moveTo>
                    <a:pt x="260" y="156"/>
                  </a:moveTo>
                  <a:cubicBezTo>
                    <a:pt x="260" y="156"/>
                    <a:pt x="260" y="156"/>
                    <a:pt x="260" y="156"/>
                  </a:cubicBezTo>
                  <a:cubicBezTo>
                    <a:pt x="260" y="156"/>
                    <a:pt x="260" y="156"/>
                    <a:pt x="260" y="156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5"/>
                  </a:moveTo>
                  <a:cubicBezTo>
                    <a:pt x="260" y="155"/>
                    <a:pt x="260" y="155"/>
                    <a:pt x="260" y="155"/>
                  </a:cubicBezTo>
                  <a:cubicBezTo>
                    <a:pt x="260" y="155"/>
                    <a:pt x="260" y="155"/>
                    <a:pt x="260" y="155"/>
                  </a:cubicBezTo>
                  <a:moveTo>
                    <a:pt x="260" y="154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4"/>
                  </a:cubicBezTo>
                  <a:moveTo>
                    <a:pt x="260" y="153"/>
                  </a:moveTo>
                  <a:cubicBezTo>
                    <a:pt x="260" y="154"/>
                    <a:pt x="260" y="154"/>
                    <a:pt x="260" y="154"/>
                  </a:cubicBezTo>
                  <a:cubicBezTo>
                    <a:pt x="260" y="154"/>
                    <a:pt x="260" y="154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3"/>
                  </a:moveTo>
                  <a:cubicBezTo>
                    <a:pt x="260" y="153"/>
                    <a:pt x="260" y="153"/>
                    <a:pt x="260" y="153"/>
                  </a:cubicBezTo>
                  <a:cubicBezTo>
                    <a:pt x="260" y="153"/>
                    <a:pt x="260" y="153"/>
                    <a:pt x="260" y="153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2"/>
                  </a:moveTo>
                  <a:cubicBezTo>
                    <a:pt x="260" y="152"/>
                    <a:pt x="260" y="152"/>
                    <a:pt x="260" y="152"/>
                  </a:cubicBezTo>
                  <a:cubicBezTo>
                    <a:pt x="260" y="152"/>
                    <a:pt x="260" y="152"/>
                    <a:pt x="260" y="152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1"/>
                  </a:moveTo>
                  <a:cubicBezTo>
                    <a:pt x="260" y="151"/>
                    <a:pt x="260" y="151"/>
                    <a:pt x="260" y="151"/>
                  </a:cubicBezTo>
                  <a:cubicBezTo>
                    <a:pt x="260" y="151"/>
                    <a:pt x="260" y="151"/>
                    <a:pt x="260" y="151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260" y="150"/>
                  </a:moveTo>
                  <a:cubicBezTo>
                    <a:pt x="260" y="150"/>
                    <a:pt x="260" y="150"/>
                    <a:pt x="260" y="150"/>
                  </a:cubicBezTo>
                  <a:cubicBezTo>
                    <a:pt x="260" y="150"/>
                    <a:pt x="260" y="150"/>
                    <a:pt x="260" y="150"/>
                  </a:cubicBezTo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ïšľí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461B263-6CDE-4B32-937F-BA35EA1A0AE9}"/>
                </a:ext>
              </a:extLst>
            </p:cNvPr>
            <p:cNvSpPr/>
            <p:nvPr/>
          </p:nvSpPr>
          <p:spPr bwMode="auto">
            <a:xfrm>
              <a:off x="4360863" y="1187450"/>
              <a:ext cx="1087438" cy="1085850"/>
            </a:xfrm>
            <a:custGeom>
              <a:avLst/>
              <a:gdLst>
                <a:gd name="T0" fmla="*/ 171 w 429"/>
                <a:gd name="T1" fmla="*/ 27 h 430"/>
                <a:gd name="T2" fmla="*/ 171 w 429"/>
                <a:gd name="T3" fmla="*/ 27 h 430"/>
                <a:gd name="T4" fmla="*/ 170 w 429"/>
                <a:gd name="T5" fmla="*/ 28 h 430"/>
                <a:gd name="T6" fmla="*/ 170 w 429"/>
                <a:gd name="T7" fmla="*/ 28 h 430"/>
                <a:gd name="T8" fmla="*/ 170 w 429"/>
                <a:gd name="T9" fmla="*/ 28 h 430"/>
                <a:gd name="T10" fmla="*/ 169 w 429"/>
                <a:gd name="T11" fmla="*/ 28 h 430"/>
                <a:gd name="T12" fmla="*/ 0 w 429"/>
                <a:gd name="T13" fmla="*/ 237 h 430"/>
                <a:gd name="T14" fmla="*/ 365 w 429"/>
                <a:gd name="T15" fmla="*/ 383 h 430"/>
                <a:gd name="T16" fmla="*/ 255 w 429"/>
                <a:gd name="T17" fmla="*/ 319 h 430"/>
                <a:gd name="T18" fmla="*/ 253 w 429"/>
                <a:gd name="T19" fmla="*/ 315 h 430"/>
                <a:gd name="T20" fmla="*/ 253 w 429"/>
                <a:gd name="T21" fmla="*/ 315 h 430"/>
                <a:gd name="T22" fmla="*/ 253 w 429"/>
                <a:gd name="T23" fmla="*/ 314 h 430"/>
                <a:gd name="T24" fmla="*/ 262 w 429"/>
                <a:gd name="T25" fmla="*/ 302 h 430"/>
                <a:gd name="T26" fmla="*/ 375 w 429"/>
                <a:gd name="T27" fmla="*/ 366 h 430"/>
                <a:gd name="T28" fmla="*/ 429 w 429"/>
                <a:gd name="T29" fmla="*/ 191 h 430"/>
                <a:gd name="T30" fmla="*/ 429 w 429"/>
                <a:gd name="T31" fmla="*/ 190 h 430"/>
                <a:gd name="T32" fmla="*/ 429 w 429"/>
                <a:gd name="T33" fmla="*/ 189 h 430"/>
                <a:gd name="T34" fmla="*/ 429 w 429"/>
                <a:gd name="T35" fmla="*/ 188 h 430"/>
                <a:gd name="T36" fmla="*/ 429 w 429"/>
                <a:gd name="T37" fmla="*/ 187 h 430"/>
                <a:gd name="T38" fmla="*/ 429 w 429"/>
                <a:gd name="T39" fmla="*/ 186 h 430"/>
                <a:gd name="T40" fmla="*/ 429 w 429"/>
                <a:gd name="T41" fmla="*/ 186 h 430"/>
                <a:gd name="T42" fmla="*/ 429 w 429"/>
                <a:gd name="T43" fmla="*/ 185 h 430"/>
                <a:gd name="T44" fmla="*/ 429 w 429"/>
                <a:gd name="T45" fmla="*/ 185 h 430"/>
                <a:gd name="T46" fmla="*/ 429 w 429"/>
                <a:gd name="T47" fmla="*/ 184 h 430"/>
                <a:gd name="T48" fmla="*/ 429 w 429"/>
                <a:gd name="T49" fmla="*/ 183 h 430"/>
                <a:gd name="T50" fmla="*/ 429 w 429"/>
                <a:gd name="T51" fmla="*/ 183 h 430"/>
                <a:gd name="T52" fmla="*/ 429 w 429"/>
                <a:gd name="T53" fmla="*/ 182 h 430"/>
                <a:gd name="T54" fmla="*/ 429 w 429"/>
                <a:gd name="T55" fmla="*/ 182 h 430"/>
                <a:gd name="T56" fmla="*/ 429 w 429"/>
                <a:gd name="T57" fmla="*/ 181 h 430"/>
                <a:gd name="T58" fmla="*/ 429 w 429"/>
                <a:gd name="T59" fmla="*/ 180 h 430"/>
                <a:gd name="T60" fmla="*/ 429 w 429"/>
                <a:gd name="T61" fmla="*/ 180 h 430"/>
                <a:gd name="T62" fmla="*/ 429 w 429"/>
                <a:gd name="T63" fmla="*/ 180 h 430"/>
                <a:gd name="T64" fmla="*/ 429 w 429"/>
                <a:gd name="T65" fmla="*/ 179 h 430"/>
                <a:gd name="T66" fmla="*/ 429 w 429"/>
                <a:gd name="T67" fmla="*/ 179 h 430"/>
                <a:gd name="T68" fmla="*/ 429 w 429"/>
                <a:gd name="T69" fmla="*/ 178 h 430"/>
                <a:gd name="T70" fmla="*/ 429 w 429"/>
                <a:gd name="T71" fmla="*/ 178 h 430"/>
                <a:gd name="T72" fmla="*/ 429 w 429"/>
                <a:gd name="T73" fmla="*/ 177 h 430"/>
                <a:gd name="T74" fmla="*/ 429 w 429"/>
                <a:gd name="T75" fmla="*/ 177 h 430"/>
                <a:gd name="T76" fmla="*/ 371 w 429"/>
                <a:gd name="T77" fmla="*/ 46 h 430"/>
                <a:gd name="T78" fmla="*/ 261 w 429"/>
                <a:gd name="T7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430">
                  <a:moveTo>
                    <a:pt x="261" y="0"/>
                  </a:moveTo>
                  <a:cubicBezTo>
                    <a:pt x="234" y="0"/>
                    <a:pt x="203" y="9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1" y="28"/>
                    <a:pt x="171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9"/>
                  </a:cubicBezTo>
                  <a:cubicBezTo>
                    <a:pt x="97" y="71"/>
                    <a:pt x="35" y="151"/>
                    <a:pt x="0" y="237"/>
                  </a:cubicBezTo>
                  <a:cubicBezTo>
                    <a:pt x="333" y="430"/>
                    <a:pt x="333" y="430"/>
                    <a:pt x="333" y="430"/>
                  </a:cubicBezTo>
                  <a:cubicBezTo>
                    <a:pt x="345" y="415"/>
                    <a:pt x="355" y="399"/>
                    <a:pt x="365" y="383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5" y="319"/>
                    <a:pt x="255" y="319"/>
                    <a:pt x="255" y="319"/>
                  </a:cubicBezTo>
                  <a:cubicBezTo>
                    <a:pt x="254" y="318"/>
                    <a:pt x="253" y="317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5"/>
                  </a:cubicBezTo>
                  <a:cubicBezTo>
                    <a:pt x="253" y="315"/>
                    <a:pt x="253" y="315"/>
                    <a:pt x="253" y="314"/>
                  </a:cubicBezTo>
                  <a:cubicBezTo>
                    <a:pt x="253" y="310"/>
                    <a:pt x="256" y="305"/>
                    <a:pt x="259" y="303"/>
                  </a:cubicBezTo>
                  <a:cubicBezTo>
                    <a:pt x="261" y="302"/>
                    <a:pt x="262" y="302"/>
                    <a:pt x="262" y="302"/>
                  </a:cubicBezTo>
                  <a:cubicBezTo>
                    <a:pt x="263" y="302"/>
                    <a:pt x="264" y="302"/>
                    <a:pt x="264" y="303"/>
                  </a:cubicBezTo>
                  <a:cubicBezTo>
                    <a:pt x="375" y="366"/>
                    <a:pt x="375" y="366"/>
                    <a:pt x="375" y="366"/>
                  </a:cubicBezTo>
                  <a:cubicBezTo>
                    <a:pt x="406" y="310"/>
                    <a:pt x="426" y="249"/>
                    <a:pt x="429" y="191"/>
                  </a:cubicBezTo>
                  <a:cubicBezTo>
                    <a:pt x="429" y="191"/>
                    <a:pt x="429" y="191"/>
                    <a:pt x="429" y="191"/>
                  </a:cubicBezTo>
                  <a:cubicBezTo>
                    <a:pt x="429" y="191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90"/>
                  </a:cubicBezTo>
                  <a:cubicBezTo>
                    <a:pt x="429" y="190"/>
                    <a:pt x="429" y="190"/>
                    <a:pt x="429" y="189"/>
                  </a:cubicBezTo>
                  <a:cubicBezTo>
                    <a:pt x="429" y="189"/>
                    <a:pt x="429" y="189"/>
                    <a:pt x="429" y="189"/>
                  </a:cubicBezTo>
                  <a:cubicBezTo>
                    <a:pt x="429" y="189"/>
                    <a:pt x="429" y="189"/>
                    <a:pt x="429" y="188"/>
                  </a:cubicBezTo>
                  <a:cubicBezTo>
                    <a:pt x="429" y="188"/>
                    <a:pt x="429" y="188"/>
                    <a:pt x="429" y="188"/>
                  </a:cubicBezTo>
                  <a:cubicBezTo>
                    <a:pt x="429" y="188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7"/>
                    <a:pt x="429" y="187"/>
                  </a:cubicBezTo>
                  <a:cubicBezTo>
                    <a:pt x="429" y="187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6"/>
                    <a:pt x="429" y="186"/>
                  </a:cubicBezTo>
                  <a:cubicBezTo>
                    <a:pt x="429" y="186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5"/>
                    <a:pt x="429" y="185"/>
                    <a:pt x="429" y="185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9" y="184"/>
                    <a:pt x="429" y="184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3"/>
                    <a:pt x="429" y="183"/>
                  </a:cubicBezTo>
                  <a:cubicBezTo>
                    <a:pt x="429" y="183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2"/>
                    <a:pt x="429" y="182"/>
                    <a:pt x="429" y="182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1"/>
                  </a:cubicBezTo>
                  <a:cubicBezTo>
                    <a:pt x="429" y="181"/>
                    <a:pt x="429" y="181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80"/>
                    <a:pt x="429" y="180"/>
                    <a:pt x="429" y="180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9"/>
                    <a:pt x="429" y="179"/>
                    <a:pt x="429" y="179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6"/>
                    <a:pt x="429" y="176"/>
                    <a:pt x="429" y="176"/>
                  </a:cubicBezTo>
                  <a:cubicBezTo>
                    <a:pt x="429" y="112"/>
                    <a:pt x="407" y="67"/>
                    <a:pt x="371" y="46"/>
                  </a:cubicBezTo>
                  <a:cubicBezTo>
                    <a:pt x="313" y="13"/>
                    <a:pt x="313" y="13"/>
                    <a:pt x="313" y="13"/>
                  </a:cubicBezTo>
                  <a:cubicBezTo>
                    <a:pt x="298" y="4"/>
                    <a:pt x="280" y="0"/>
                    <a:pt x="26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îśḻ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8AC4145-9711-4A0E-B92A-FD9AD503ACF4}"/>
                </a:ext>
              </a:extLst>
            </p:cNvPr>
            <p:cNvSpPr/>
            <p:nvPr/>
          </p:nvSpPr>
          <p:spPr bwMode="auto">
            <a:xfrm>
              <a:off x="4432300" y="1176338"/>
              <a:ext cx="1016000" cy="1497013"/>
            </a:xfrm>
            <a:custGeom>
              <a:avLst/>
              <a:gdLst>
                <a:gd name="T0" fmla="*/ 201 w 401"/>
                <a:gd name="T1" fmla="*/ 64 h 592"/>
                <a:gd name="T2" fmla="*/ 0 w 401"/>
                <a:gd name="T3" fmla="*/ 412 h 592"/>
                <a:gd name="T4" fmla="*/ 201 w 401"/>
                <a:gd name="T5" fmla="*/ 528 h 592"/>
                <a:gd name="T6" fmla="*/ 401 w 401"/>
                <a:gd name="T7" fmla="*/ 180 h 592"/>
                <a:gd name="T8" fmla="*/ 201 w 401"/>
                <a:gd name="T9" fmla="*/ 6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592">
                  <a:moveTo>
                    <a:pt x="201" y="64"/>
                  </a:moveTo>
                  <a:cubicBezTo>
                    <a:pt x="90" y="128"/>
                    <a:pt x="0" y="284"/>
                    <a:pt x="0" y="412"/>
                  </a:cubicBezTo>
                  <a:cubicBezTo>
                    <a:pt x="0" y="540"/>
                    <a:pt x="90" y="592"/>
                    <a:pt x="201" y="528"/>
                  </a:cubicBezTo>
                  <a:cubicBezTo>
                    <a:pt x="311" y="464"/>
                    <a:pt x="401" y="308"/>
                    <a:pt x="401" y="180"/>
                  </a:cubicBezTo>
                  <a:cubicBezTo>
                    <a:pt x="401" y="52"/>
                    <a:pt x="311" y="0"/>
                    <a:pt x="201" y="6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iṩľ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8EF03BF-BF96-4833-A088-992A6747129A}"/>
                </a:ext>
              </a:extLst>
            </p:cNvPr>
            <p:cNvSpPr/>
            <p:nvPr/>
          </p:nvSpPr>
          <p:spPr bwMode="auto">
            <a:xfrm>
              <a:off x="4505325" y="1282700"/>
              <a:ext cx="871538" cy="1284288"/>
            </a:xfrm>
            <a:custGeom>
              <a:avLst/>
              <a:gdLst>
                <a:gd name="T0" fmla="*/ 172 w 344"/>
                <a:gd name="T1" fmla="*/ 55 h 508"/>
                <a:gd name="T2" fmla="*/ 0 w 344"/>
                <a:gd name="T3" fmla="*/ 353 h 508"/>
                <a:gd name="T4" fmla="*/ 172 w 344"/>
                <a:gd name="T5" fmla="*/ 453 h 508"/>
                <a:gd name="T6" fmla="*/ 344 w 344"/>
                <a:gd name="T7" fmla="*/ 155 h 508"/>
                <a:gd name="T8" fmla="*/ 172 w 344"/>
                <a:gd name="T9" fmla="*/ 5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" h="508">
                  <a:moveTo>
                    <a:pt x="172" y="55"/>
                  </a:moveTo>
                  <a:cubicBezTo>
                    <a:pt x="77" y="110"/>
                    <a:pt x="0" y="244"/>
                    <a:pt x="0" y="353"/>
                  </a:cubicBezTo>
                  <a:cubicBezTo>
                    <a:pt x="0" y="463"/>
                    <a:pt x="77" y="508"/>
                    <a:pt x="172" y="453"/>
                  </a:cubicBezTo>
                  <a:cubicBezTo>
                    <a:pt x="267" y="398"/>
                    <a:pt x="344" y="264"/>
                    <a:pt x="344" y="155"/>
                  </a:cubicBezTo>
                  <a:cubicBezTo>
                    <a:pt x="344" y="45"/>
                    <a:pt x="267" y="0"/>
                    <a:pt x="172" y="5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iṡḷî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2A1EDE-7720-4B3A-A822-381F1DDFE5B4}"/>
                </a:ext>
              </a:extLst>
            </p:cNvPr>
            <p:cNvSpPr/>
            <p:nvPr/>
          </p:nvSpPr>
          <p:spPr bwMode="auto">
            <a:xfrm>
              <a:off x="4576763" y="1389063"/>
              <a:ext cx="727075" cy="1071563"/>
            </a:xfrm>
            <a:custGeom>
              <a:avLst/>
              <a:gdLst>
                <a:gd name="T0" fmla="*/ 144 w 287"/>
                <a:gd name="T1" fmla="*/ 46 h 424"/>
                <a:gd name="T2" fmla="*/ 0 w 287"/>
                <a:gd name="T3" fmla="*/ 295 h 424"/>
                <a:gd name="T4" fmla="*/ 144 w 287"/>
                <a:gd name="T5" fmla="*/ 378 h 424"/>
                <a:gd name="T6" fmla="*/ 287 w 287"/>
                <a:gd name="T7" fmla="*/ 129 h 424"/>
                <a:gd name="T8" fmla="*/ 144 w 287"/>
                <a:gd name="T9" fmla="*/ 46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424">
                  <a:moveTo>
                    <a:pt x="144" y="46"/>
                  </a:moveTo>
                  <a:cubicBezTo>
                    <a:pt x="64" y="92"/>
                    <a:pt x="0" y="203"/>
                    <a:pt x="0" y="295"/>
                  </a:cubicBezTo>
                  <a:cubicBezTo>
                    <a:pt x="0" y="386"/>
                    <a:pt x="64" y="424"/>
                    <a:pt x="144" y="378"/>
                  </a:cubicBezTo>
                  <a:cubicBezTo>
                    <a:pt x="223" y="332"/>
                    <a:pt x="287" y="221"/>
                    <a:pt x="287" y="129"/>
                  </a:cubicBezTo>
                  <a:cubicBezTo>
                    <a:pt x="287" y="37"/>
                    <a:pt x="223" y="0"/>
                    <a:pt x="144" y="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îŝḻ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F7791C-2F29-48D7-A52A-3032ED47DD2F}"/>
                </a:ext>
              </a:extLst>
            </p:cNvPr>
            <p:cNvSpPr/>
            <p:nvPr/>
          </p:nvSpPr>
          <p:spPr bwMode="auto">
            <a:xfrm>
              <a:off x="4649788" y="1495425"/>
              <a:ext cx="582613" cy="858838"/>
            </a:xfrm>
            <a:custGeom>
              <a:avLst/>
              <a:gdLst>
                <a:gd name="T0" fmla="*/ 115 w 230"/>
                <a:gd name="T1" fmla="*/ 37 h 340"/>
                <a:gd name="T2" fmla="*/ 0 w 230"/>
                <a:gd name="T3" fmla="*/ 236 h 340"/>
                <a:gd name="T4" fmla="*/ 115 w 230"/>
                <a:gd name="T5" fmla="*/ 303 h 340"/>
                <a:gd name="T6" fmla="*/ 230 w 230"/>
                <a:gd name="T7" fmla="*/ 104 h 340"/>
                <a:gd name="T8" fmla="*/ 115 w 230"/>
                <a:gd name="T9" fmla="*/ 3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40">
                  <a:moveTo>
                    <a:pt x="115" y="37"/>
                  </a:moveTo>
                  <a:cubicBezTo>
                    <a:pt x="51" y="74"/>
                    <a:pt x="0" y="163"/>
                    <a:pt x="0" y="236"/>
                  </a:cubicBezTo>
                  <a:cubicBezTo>
                    <a:pt x="0" y="310"/>
                    <a:pt x="51" y="340"/>
                    <a:pt x="115" y="303"/>
                  </a:cubicBezTo>
                  <a:cubicBezTo>
                    <a:pt x="178" y="266"/>
                    <a:pt x="230" y="177"/>
                    <a:pt x="230" y="104"/>
                  </a:cubicBezTo>
                  <a:cubicBezTo>
                    <a:pt x="230" y="30"/>
                    <a:pt x="178" y="0"/>
                    <a:pt x="115" y="3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ïśli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6BEE8CA-11A4-4BFA-B3B9-CE1A7CDCC5E5}"/>
                </a:ext>
              </a:extLst>
            </p:cNvPr>
            <p:cNvSpPr/>
            <p:nvPr/>
          </p:nvSpPr>
          <p:spPr bwMode="auto">
            <a:xfrm>
              <a:off x="4721225" y="1601788"/>
              <a:ext cx="438150" cy="646113"/>
            </a:xfrm>
            <a:custGeom>
              <a:avLst/>
              <a:gdLst>
                <a:gd name="T0" fmla="*/ 87 w 173"/>
                <a:gd name="T1" fmla="*/ 28 h 256"/>
                <a:gd name="T2" fmla="*/ 0 w 173"/>
                <a:gd name="T3" fmla="*/ 178 h 256"/>
                <a:gd name="T4" fmla="*/ 87 w 173"/>
                <a:gd name="T5" fmla="*/ 228 h 256"/>
                <a:gd name="T6" fmla="*/ 173 w 173"/>
                <a:gd name="T7" fmla="*/ 78 h 256"/>
                <a:gd name="T8" fmla="*/ 87 w 173"/>
                <a:gd name="T9" fmla="*/ 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256">
                  <a:moveTo>
                    <a:pt x="87" y="28"/>
                  </a:moveTo>
                  <a:cubicBezTo>
                    <a:pt x="39" y="56"/>
                    <a:pt x="0" y="123"/>
                    <a:pt x="0" y="178"/>
                  </a:cubicBezTo>
                  <a:cubicBezTo>
                    <a:pt x="0" y="233"/>
                    <a:pt x="39" y="256"/>
                    <a:pt x="87" y="228"/>
                  </a:cubicBezTo>
                  <a:cubicBezTo>
                    <a:pt x="134" y="200"/>
                    <a:pt x="173" y="133"/>
                    <a:pt x="173" y="78"/>
                  </a:cubicBezTo>
                  <a:cubicBezTo>
                    <a:pt x="173" y="23"/>
                    <a:pt x="134" y="0"/>
                    <a:pt x="87" y="2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iṧ1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13E993D-0057-4A17-95A2-BD529B5093C3}"/>
                </a:ext>
              </a:extLst>
            </p:cNvPr>
            <p:cNvSpPr/>
            <p:nvPr/>
          </p:nvSpPr>
          <p:spPr bwMode="auto">
            <a:xfrm>
              <a:off x="4794250" y="1708150"/>
              <a:ext cx="293688" cy="434975"/>
            </a:xfrm>
            <a:custGeom>
              <a:avLst/>
              <a:gdLst>
                <a:gd name="T0" fmla="*/ 58 w 116"/>
                <a:gd name="T1" fmla="*/ 19 h 172"/>
                <a:gd name="T2" fmla="*/ 0 w 116"/>
                <a:gd name="T3" fmla="*/ 119 h 172"/>
                <a:gd name="T4" fmla="*/ 58 w 116"/>
                <a:gd name="T5" fmla="*/ 153 h 172"/>
                <a:gd name="T6" fmla="*/ 116 w 116"/>
                <a:gd name="T7" fmla="*/ 52 h 172"/>
                <a:gd name="T8" fmla="*/ 58 w 116"/>
                <a:gd name="T9" fmla="*/ 1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72">
                  <a:moveTo>
                    <a:pt x="58" y="19"/>
                  </a:moveTo>
                  <a:cubicBezTo>
                    <a:pt x="26" y="37"/>
                    <a:pt x="0" y="82"/>
                    <a:pt x="0" y="119"/>
                  </a:cubicBezTo>
                  <a:cubicBezTo>
                    <a:pt x="0" y="157"/>
                    <a:pt x="26" y="172"/>
                    <a:pt x="58" y="153"/>
                  </a:cubicBezTo>
                  <a:cubicBezTo>
                    <a:pt x="90" y="134"/>
                    <a:pt x="116" y="89"/>
                    <a:pt x="116" y="52"/>
                  </a:cubicBezTo>
                  <a:cubicBezTo>
                    <a:pt x="116" y="15"/>
                    <a:pt x="90" y="0"/>
                    <a:pt x="58" y="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îšļ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544F22-C620-4334-BAFD-E8825399D0C1}"/>
                </a:ext>
              </a:extLst>
            </p:cNvPr>
            <p:cNvSpPr/>
            <p:nvPr/>
          </p:nvSpPr>
          <p:spPr bwMode="auto">
            <a:xfrm>
              <a:off x="4865688" y="1814513"/>
              <a:ext cx="149225" cy="219075"/>
            </a:xfrm>
            <a:custGeom>
              <a:avLst/>
              <a:gdLst>
                <a:gd name="T0" fmla="*/ 30 w 59"/>
                <a:gd name="T1" fmla="*/ 10 h 87"/>
                <a:gd name="T2" fmla="*/ 0 w 59"/>
                <a:gd name="T3" fmla="*/ 61 h 87"/>
                <a:gd name="T4" fmla="*/ 30 w 59"/>
                <a:gd name="T5" fmla="*/ 78 h 87"/>
                <a:gd name="T6" fmla="*/ 59 w 59"/>
                <a:gd name="T7" fmla="*/ 27 h 87"/>
                <a:gd name="T8" fmla="*/ 30 w 59"/>
                <a:gd name="T9" fmla="*/ 1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87">
                  <a:moveTo>
                    <a:pt x="30" y="10"/>
                  </a:moveTo>
                  <a:cubicBezTo>
                    <a:pt x="13" y="19"/>
                    <a:pt x="0" y="42"/>
                    <a:pt x="0" y="61"/>
                  </a:cubicBezTo>
                  <a:cubicBezTo>
                    <a:pt x="0" y="80"/>
                    <a:pt x="13" y="87"/>
                    <a:pt x="30" y="78"/>
                  </a:cubicBezTo>
                  <a:cubicBezTo>
                    <a:pt x="46" y="69"/>
                    <a:pt x="59" y="46"/>
                    <a:pt x="59" y="27"/>
                  </a:cubicBezTo>
                  <a:cubicBezTo>
                    <a:pt x="59" y="8"/>
                    <a:pt x="46" y="0"/>
                    <a:pt x="30" y="10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îSľï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DB21DA-C96E-4FBC-8966-6AD49768F811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îśḻ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A220500-69EA-456F-A1C2-7FB2007F03D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107950"/>
            </a:xfrm>
            <a:custGeom>
              <a:avLst/>
              <a:gdLst>
                <a:gd name="T0" fmla="*/ 169 w 169"/>
                <a:gd name="T1" fmla="*/ 46 h 68"/>
                <a:gd name="T2" fmla="*/ 66 w 169"/>
                <a:gd name="T3" fmla="*/ 1 h 68"/>
                <a:gd name="T4" fmla="*/ 0 w 169"/>
                <a:gd name="T5" fmla="*/ 0 h 68"/>
                <a:gd name="T6" fmla="*/ 0 w 169"/>
                <a:gd name="T7" fmla="*/ 11 h 68"/>
                <a:gd name="T8" fmla="*/ 99 w 169"/>
                <a:gd name="T9" fmla="*/ 68 h 68"/>
                <a:gd name="T10" fmla="*/ 169 w 169"/>
                <a:gd name="T11" fmla="*/ 57 h 68"/>
                <a:gd name="T12" fmla="*/ 169 w 169"/>
                <a:gd name="T13" fmla="*/ 4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8">
                  <a:moveTo>
                    <a:pt x="169" y="46"/>
                  </a:moveTo>
                  <a:lnTo>
                    <a:pt x="66" y="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9" y="68"/>
                  </a:lnTo>
                  <a:lnTo>
                    <a:pt x="169" y="57"/>
                  </a:lnTo>
                  <a:lnTo>
                    <a:pt x="169" y="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îṡḷ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51CFDAB-B1A9-41FB-9C1A-9DBE0BDE0946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iş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A6CB4EF-6F16-43EE-BEE0-229DC03BEB22}"/>
                </a:ext>
              </a:extLst>
            </p:cNvPr>
            <p:cNvSpPr/>
            <p:nvPr/>
          </p:nvSpPr>
          <p:spPr bwMode="auto">
            <a:xfrm>
              <a:off x="5807075" y="2425700"/>
              <a:ext cx="268288" cy="88900"/>
            </a:xfrm>
            <a:custGeom>
              <a:avLst/>
              <a:gdLst>
                <a:gd name="T0" fmla="*/ 0 w 169"/>
                <a:gd name="T1" fmla="*/ 0 h 56"/>
                <a:gd name="T2" fmla="*/ 66 w 169"/>
                <a:gd name="T3" fmla="*/ 1 h 56"/>
                <a:gd name="T4" fmla="*/ 169 w 169"/>
                <a:gd name="T5" fmla="*/ 46 h 56"/>
                <a:gd name="T6" fmla="*/ 99 w 169"/>
                <a:gd name="T7" fmla="*/ 56 h 56"/>
                <a:gd name="T8" fmla="*/ 0 w 169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56">
                  <a:moveTo>
                    <a:pt x="0" y="0"/>
                  </a:moveTo>
                  <a:lnTo>
                    <a:pt x="66" y="1"/>
                  </a:lnTo>
                  <a:lnTo>
                    <a:pt x="169" y="46"/>
                  </a:lnTo>
                  <a:lnTo>
                    <a:pt x="99" y="5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íṩ1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A2143C4-8CE7-4879-AF7D-5BECB444E260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ïś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83AF6E7-8154-48B5-836E-4C7DB8736EC9}"/>
                </a:ext>
              </a:extLst>
            </p:cNvPr>
            <p:cNvSpPr/>
            <p:nvPr/>
          </p:nvSpPr>
          <p:spPr bwMode="auto">
            <a:xfrm>
              <a:off x="5997575" y="2498725"/>
              <a:ext cx="77788" cy="25400"/>
            </a:xfrm>
            <a:custGeom>
              <a:avLst/>
              <a:gdLst>
                <a:gd name="T0" fmla="*/ 49 w 49"/>
                <a:gd name="T1" fmla="*/ 0 h 16"/>
                <a:gd name="T2" fmla="*/ 0 w 49"/>
                <a:gd name="T3" fmla="*/ 6 h 16"/>
                <a:gd name="T4" fmla="*/ 16 w 49"/>
                <a:gd name="T5" fmla="*/ 16 h 16"/>
                <a:gd name="T6" fmla="*/ 49 w 49"/>
                <a:gd name="T7" fmla="*/ 11 h 16"/>
                <a:gd name="T8" fmla="*/ 49 w 4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">
                  <a:moveTo>
                    <a:pt x="49" y="0"/>
                  </a:moveTo>
                  <a:lnTo>
                    <a:pt x="0" y="6"/>
                  </a:lnTo>
                  <a:lnTo>
                    <a:pt x="16" y="16"/>
                  </a:lnTo>
                  <a:lnTo>
                    <a:pt x="49" y="11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íşḻï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72C61B4-F161-45F2-A606-2D2BD3635B59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53988"/>
            </a:xfrm>
            <a:custGeom>
              <a:avLst/>
              <a:gdLst>
                <a:gd name="T0" fmla="*/ 115 w 115"/>
                <a:gd name="T1" fmla="*/ 22 h 97"/>
                <a:gd name="T2" fmla="*/ 0 w 115"/>
                <a:gd name="T3" fmla="*/ 0 h 97"/>
                <a:gd name="T4" fmla="*/ 0 w 115"/>
                <a:gd name="T5" fmla="*/ 22 h 97"/>
                <a:gd name="T6" fmla="*/ 26 w 115"/>
                <a:gd name="T7" fmla="*/ 97 h 97"/>
                <a:gd name="T8" fmla="*/ 64 w 115"/>
                <a:gd name="T9" fmla="*/ 60 h 97"/>
                <a:gd name="T10" fmla="*/ 115 w 115"/>
                <a:gd name="T11" fmla="*/ 44 h 97"/>
                <a:gd name="T12" fmla="*/ 115 w 115"/>
                <a:gd name="T13" fmla="*/ 2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7">
                  <a:moveTo>
                    <a:pt x="115" y="22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6" y="97"/>
                  </a:lnTo>
                  <a:lnTo>
                    <a:pt x="64" y="60"/>
                  </a:lnTo>
                  <a:lnTo>
                    <a:pt x="115" y="44"/>
                  </a:lnTo>
                  <a:lnTo>
                    <a:pt x="115" y="2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iSḻ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7A684DC-1EA5-47C8-8A4F-DE3E8F8C8517}"/>
                </a:ext>
              </a:extLst>
            </p:cNvPr>
            <p:cNvSpPr/>
            <p:nvPr/>
          </p:nvSpPr>
          <p:spPr bwMode="auto">
            <a:xfrm>
              <a:off x="4918075" y="1892300"/>
              <a:ext cx="182563" cy="119063"/>
            </a:xfrm>
            <a:custGeom>
              <a:avLst/>
              <a:gdLst>
                <a:gd name="T0" fmla="*/ 0 w 115"/>
                <a:gd name="T1" fmla="*/ 0 h 75"/>
                <a:gd name="T2" fmla="*/ 26 w 115"/>
                <a:gd name="T3" fmla="*/ 75 h 75"/>
                <a:gd name="T4" fmla="*/ 64 w 115"/>
                <a:gd name="T5" fmla="*/ 38 h 75"/>
                <a:gd name="T6" fmla="*/ 115 w 115"/>
                <a:gd name="T7" fmla="*/ 22 h 75"/>
                <a:gd name="T8" fmla="*/ 0 w 115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75">
                  <a:moveTo>
                    <a:pt x="0" y="0"/>
                  </a:moveTo>
                  <a:lnTo>
                    <a:pt x="26" y="75"/>
                  </a:lnTo>
                  <a:lnTo>
                    <a:pt x="64" y="38"/>
                  </a:lnTo>
                  <a:lnTo>
                    <a:pt x="115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îṧḻ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0FFB9EB-F67D-48B4-A723-3709E986FC48}"/>
                </a:ext>
              </a:extLst>
            </p:cNvPr>
            <p:cNvSpPr/>
            <p:nvPr/>
          </p:nvSpPr>
          <p:spPr bwMode="auto">
            <a:xfrm>
              <a:off x="4959350" y="1952625"/>
              <a:ext cx="60325" cy="93663"/>
            </a:xfrm>
            <a:custGeom>
              <a:avLst/>
              <a:gdLst>
                <a:gd name="T0" fmla="*/ 0 w 38"/>
                <a:gd name="T1" fmla="*/ 37 h 59"/>
                <a:gd name="T2" fmla="*/ 0 w 38"/>
                <a:gd name="T3" fmla="*/ 59 h 59"/>
                <a:gd name="T4" fmla="*/ 38 w 38"/>
                <a:gd name="T5" fmla="*/ 22 h 59"/>
                <a:gd name="T6" fmla="*/ 38 w 38"/>
                <a:gd name="T7" fmla="*/ 0 h 59"/>
                <a:gd name="T8" fmla="*/ 0 w 38"/>
                <a:gd name="T9" fmla="*/ 3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9">
                  <a:moveTo>
                    <a:pt x="0" y="37"/>
                  </a:moveTo>
                  <a:lnTo>
                    <a:pt x="0" y="59"/>
                  </a:lnTo>
                  <a:lnTo>
                    <a:pt x="38" y="22"/>
                  </a:lnTo>
                  <a:lnTo>
                    <a:pt x="38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iṡļ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8DE72F-7E53-472E-BE74-C2072059EA66}"/>
                </a:ext>
              </a:extLst>
            </p:cNvPr>
            <p:cNvSpPr/>
            <p:nvPr/>
          </p:nvSpPr>
          <p:spPr bwMode="auto">
            <a:xfrm>
              <a:off x="5019675" y="1927225"/>
              <a:ext cx="80963" cy="60325"/>
            </a:xfrm>
            <a:custGeom>
              <a:avLst/>
              <a:gdLst>
                <a:gd name="T0" fmla="*/ 0 w 51"/>
                <a:gd name="T1" fmla="*/ 16 h 38"/>
                <a:gd name="T2" fmla="*/ 51 w 51"/>
                <a:gd name="T3" fmla="*/ 0 h 38"/>
                <a:gd name="T4" fmla="*/ 51 w 51"/>
                <a:gd name="T5" fmla="*/ 22 h 38"/>
                <a:gd name="T6" fmla="*/ 0 w 51"/>
                <a:gd name="T7" fmla="*/ 38 h 38"/>
                <a:gd name="T8" fmla="*/ 0 w 51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0" y="16"/>
                  </a:moveTo>
                  <a:lnTo>
                    <a:pt x="51" y="0"/>
                  </a:lnTo>
                  <a:lnTo>
                    <a:pt x="51" y="22"/>
                  </a:lnTo>
                  <a:lnTo>
                    <a:pt x="0" y="3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ísľ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4BAA82-D62A-4D82-8111-E126B2593028}"/>
                </a:ext>
              </a:extLst>
            </p:cNvPr>
            <p:cNvSpPr/>
            <p:nvPr/>
          </p:nvSpPr>
          <p:spPr bwMode="auto">
            <a:xfrm>
              <a:off x="5002213" y="1951038"/>
              <a:ext cx="1065213" cy="641350"/>
            </a:xfrm>
            <a:custGeom>
              <a:avLst/>
              <a:gdLst>
                <a:gd name="T0" fmla="*/ 11 w 421"/>
                <a:gd name="T1" fmla="*/ 1 h 254"/>
                <a:gd name="T2" fmla="*/ 6 w 421"/>
                <a:gd name="T3" fmla="*/ 1 h 254"/>
                <a:gd name="T4" fmla="*/ 0 w 421"/>
                <a:gd name="T5" fmla="*/ 13 h 254"/>
                <a:gd name="T6" fmla="*/ 2 w 421"/>
                <a:gd name="T7" fmla="*/ 17 h 254"/>
                <a:gd name="T8" fmla="*/ 2 w 421"/>
                <a:gd name="T9" fmla="*/ 17 h 254"/>
                <a:gd name="T10" fmla="*/ 411 w 421"/>
                <a:gd name="T11" fmla="*/ 254 h 254"/>
                <a:gd name="T12" fmla="*/ 421 w 421"/>
                <a:gd name="T13" fmla="*/ 237 h 254"/>
                <a:gd name="T14" fmla="*/ 11 w 421"/>
                <a:gd name="T15" fmla="*/ 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1" h="254">
                  <a:moveTo>
                    <a:pt x="11" y="1"/>
                  </a:moveTo>
                  <a:cubicBezTo>
                    <a:pt x="10" y="0"/>
                    <a:pt x="8" y="0"/>
                    <a:pt x="6" y="1"/>
                  </a:cubicBezTo>
                  <a:cubicBezTo>
                    <a:pt x="3" y="3"/>
                    <a:pt x="0" y="8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411" y="254"/>
                    <a:pt x="411" y="254"/>
                    <a:pt x="411" y="254"/>
                  </a:cubicBezTo>
                  <a:cubicBezTo>
                    <a:pt x="421" y="237"/>
                    <a:pt x="421" y="237"/>
                    <a:pt x="421" y="237"/>
                  </a:cubicBezTo>
                  <a:cubicBezTo>
                    <a:pt x="11" y="1"/>
                    <a:pt x="11" y="1"/>
                    <a:pt x="11" y="1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îSḷ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975BBD5-2140-492B-8420-E1FDE1C2497D}"/>
                </a:ext>
              </a:extLst>
            </p:cNvPr>
            <p:cNvSpPr/>
            <p:nvPr/>
          </p:nvSpPr>
          <p:spPr bwMode="auto">
            <a:xfrm>
              <a:off x="5002213" y="1968500"/>
              <a:ext cx="1050925" cy="623888"/>
            </a:xfrm>
            <a:custGeom>
              <a:avLst/>
              <a:gdLst>
                <a:gd name="T0" fmla="*/ 1 w 415"/>
                <a:gd name="T1" fmla="*/ 0 h 247"/>
                <a:gd name="T2" fmla="*/ 0 w 415"/>
                <a:gd name="T3" fmla="*/ 6 h 247"/>
                <a:gd name="T4" fmla="*/ 2 w 415"/>
                <a:gd name="T5" fmla="*/ 10 h 247"/>
                <a:gd name="T6" fmla="*/ 2 w 415"/>
                <a:gd name="T7" fmla="*/ 10 h 247"/>
                <a:gd name="T8" fmla="*/ 411 w 415"/>
                <a:gd name="T9" fmla="*/ 247 h 247"/>
                <a:gd name="T10" fmla="*/ 415 w 415"/>
                <a:gd name="T11" fmla="*/ 239 h 247"/>
                <a:gd name="T12" fmla="*/ 1 w 41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47">
                  <a:moveTo>
                    <a:pt x="1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8"/>
                    <a:pt x="1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11" y="247"/>
                    <a:pt x="411" y="247"/>
                    <a:pt x="411" y="247"/>
                  </a:cubicBezTo>
                  <a:cubicBezTo>
                    <a:pt x="415" y="239"/>
                    <a:pt x="415" y="239"/>
                    <a:pt x="415" y="23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ïśl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3CD4AF4-1529-405B-874B-E8E00608C7EF}"/>
                </a:ext>
              </a:extLst>
            </p:cNvPr>
            <p:cNvSpPr/>
            <p:nvPr/>
          </p:nvSpPr>
          <p:spPr bwMode="auto">
            <a:xfrm>
              <a:off x="6037263" y="2544763"/>
              <a:ext cx="36513" cy="50800"/>
            </a:xfrm>
            <a:custGeom>
              <a:avLst/>
              <a:gdLst>
                <a:gd name="T0" fmla="*/ 7 w 14"/>
                <a:gd name="T1" fmla="*/ 3 h 20"/>
                <a:gd name="T2" fmla="*/ 0 w 14"/>
                <a:gd name="T3" fmla="*/ 14 h 20"/>
                <a:gd name="T4" fmla="*/ 7 w 14"/>
                <a:gd name="T5" fmla="*/ 18 h 20"/>
                <a:gd name="T6" fmla="*/ 14 w 14"/>
                <a:gd name="T7" fmla="*/ 7 h 20"/>
                <a:gd name="T8" fmla="*/ 7 w 14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0">
                  <a:moveTo>
                    <a:pt x="7" y="3"/>
                  </a:moveTo>
                  <a:cubicBezTo>
                    <a:pt x="3" y="5"/>
                    <a:pt x="0" y="10"/>
                    <a:pt x="0" y="14"/>
                  </a:cubicBezTo>
                  <a:cubicBezTo>
                    <a:pt x="0" y="19"/>
                    <a:pt x="3" y="20"/>
                    <a:pt x="7" y="18"/>
                  </a:cubicBezTo>
                  <a:cubicBezTo>
                    <a:pt x="11" y="16"/>
                    <a:pt x="14" y="11"/>
                    <a:pt x="14" y="7"/>
                  </a:cubicBezTo>
                  <a:cubicBezTo>
                    <a:pt x="14" y="2"/>
                    <a:pt x="11" y="0"/>
                    <a:pt x="7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îṩļ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E310E1C-ACA5-4FC9-9340-B9BEA04D8625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iSl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E9F51AE-E0A5-4590-8D7D-5275C65816C2}"/>
                </a:ext>
              </a:extLst>
            </p:cNvPr>
            <p:cNvSpPr/>
            <p:nvPr/>
          </p:nvSpPr>
          <p:spPr bwMode="auto">
            <a:xfrm>
              <a:off x="5797550" y="2430463"/>
              <a:ext cx="157163" cy="174625"/>
            </a:xfrm>
            <a:custGeom>
              <a:avLst/>
              <a:gdLst>
                <a:gd name="T0" fmla="*/ 99 w 99"/>
                <a:gd name="T1" fmla="*/ 69 h 110"/>
                <a:gd name="T2" fmla="*/ 99 w 99"/>
                <a:gd name="T3" fmla="*/ 69 h 110"/>
                <a:gd name="T4" fmla="*/ 99 w 99"/>
                <a:gd name="T5" fmla="*/ 57 h 110"/>
                <a:gd name="T6" fmla="*/ 0 w 99"/>
                <a:gd name="T7" fmla="*/ 0 h 110"/>
                <a:gd name="T8" fmla="*/ 0 w 99"/>
                <a:gd name="T9" fmla="*/ 11 h 110"/>
                <a:gd name="T10" fmla="*/ 5 w 99"/>
                <a:gd name="T11" fmla="*/ 49 h 110"/>
                <a:gd name="T12" fmla="*/ 80 w 99"/>
                <a:gd name="T13" fmla="*/ 110 h 110"/>
                <a:gd name="T14" fmla="*/ 99 w 99"/>
                <a:gd name="T15" fmla="*/ 69 h 110"/>
                <a:gd name="T16" fmla="*/ 99 w 99"/>
                <a:gd name="T17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0">
                  <a:moveTo>
                    <a:pt x="99" y="69"/>
                  </a:moveTo>
                  <a:lnTo>
                    <a:pt x="99" y="69"/>
                  </a:lnTo>
                  <a:lnTo>
                    <a:pt x="99" y="57"/>
                  </a:lnTo>
                  <a:lnTo>
                    <a:pt x="0" y="0"/>
                  </a:lnTo>
                  <a:lnTo>
                    <a:pt x="0" y="11"/>
                  </a:lnTo>
                  <a:lnTo>
                    <a:pt x="5" y="49"/>
                  </a:lnTo>
                  <a:lnTo>
                    <a:pt x="80" y="110"/>
                  </a:lnTo>
                  <a:lnTo>
                    <a:pt x="99" y="69"/>
                  </a:lnTo>
                  <a:lnTo>
                    <a:pt x="99" y="6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" name="iṡľi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DE5C83-61B6-43A6-97CA-38D37BE3E146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îṥ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B1F232-33B5-4D55-8C6F-257BDFC4491C}"/>
                </a:ext>
              </a:extLst>
            </p:cNvPr>
            <p:cNvSpPr/>
            <p:nvPr/>
          </p:nvSpPr>
          <p:spPr bwMode="auto">
            <a:xfrm>
              <a:off x="5797550" y="2430463"/>
              <a:ext cx="7938" cy="77788"/>
            </a:xfrm>
            <a:custGeom>
              <a:avLst/>
              <a:gdLst>
                <a:gd name="T0" fmla="*/ 0 w 5"/>
                <a:gd name="T1" fmla="*/ 0 h 49"/>
                <a:gd name="T2" fmla="*/ 0 w 5"/>
                <a:gd name="T3" fmla="*/ 11 h 49"/>
                <a:gd name="T4" fmla="*/ 5 w 5"/>
                <a:gd name="T5" fmla="*/ 49 h 49"/>
                <a:gd name="T6" fmla="*/ 5 w 5"/>
                <a:gd name="T7" fmla="*/ 37 h 49"/>
                <a:gd name="T8" fmla="*/ 0 w 5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9">
                  <a:moveTo>
                    <a:pt x="0" y="0"/>
                  </a:moveTo>
                  <a:lnTo>
                    <a:pt x="0" y="11"/>
                  </a:lnTo>
                  <a:lnTo>
                    <a:pt x="5" y="49"/>
                  </a:lnTo>
                  <a:lnTo>
                    <a:pt x="5" y="3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iṡl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69591E8-0A5C-4958-A842-5AC13027AD5B}"/>
                </a:ext>
              </a:extLst>
            </p:cNvPr>
            <p:cNvSpPr/>
            <p:nvPr/>
          </p:nvSpPr>
          <p:spPr bwMode="auto">
            <a:xfrm>
              <a:off x="5954713" y="2540000"/>
              <a:ext cx="1588" cy="1588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ïŝ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D270333-69C1-4B5C-BF62-D6E987FC77C6}"/>
                </a:ext>
              </a:extLst>
            </p:cNvPr>
            <p:cNvSpPr/>
            <p:nvPr/>
          </p:nvSpPr>
          <p:spPr bwMode="auto">
            <a:xfrm>
              <a:off x="5954713" y="25400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í$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8D992C3-3801-40EA-978F-E5187246E0C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1FB2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işľ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A8B77E0-727B-4C76-BB0C-913E66150A4D}"/>
                </a:ext>
              </a:extLst>
            </p:cNvPr>
            <p:cNvSpPr/>
            <p:nvPr/>
          </p:nvSpPr>
          <p:spPr bwMode="auto">
            <a:xfrm>
              <a:off x="5924550" y="2520950"/>
              <a:ext cx="30163" cy="84138"/>
            </a:xfrm>
            <a:custGeom>
              <a:avLst/>
              <a:gdLst>
                <a:gd name="T0" fmla="*/ 19 w 19"/>
                <a:gd name="T1" fmla="*/ 0 h 53"/>
                <a:gd name="T2" fmla="*/ 0 w 19"/>
                <a:gd name="T3" fmla="*/ 40 h 53"/>
                <a:gd name="T4" fmla="*/ 0 w 19"/>
                <a:gd name="T5" fmla="*/ 53 h 53"/>
                <a:gd name="T6" fmla="*/ 19 w 19"/>
                <a:gd name="T7" fmla="*/ 12 h 53"/>
                <a:gd name="T8" fmla="*/ 19 w 19"/>
                <a:gd name="T9" fmla="*/ 12 h 53"/>
                <a:gd name="T10" fmla="*/ 19 w 19"/>
                <a:gd name="T11" fmla="*/ 12 h 53"/>
                <a:gd name="T12" fmla="*/ 19 w 19"/>
                <a:gd name="T13" fmla="*/ 12 h 53"/>
                <a:gd name="T14" fmla="*/ 19 w 1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53">
                  <a:moveTo>
                    <a:pt x="19" y="0"/>
                  </a:moveTo>
                  <a:lnTo>
                    <a:pt x="0" y="40"/>
                  </a:lnTo>
                  <a:lnTo>
                    <a:pt x="0" y="5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íṧ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B1AA2A-14A7-4AE2-A2A2-7F41B93E3BE2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ï$l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CFAADA-015A-4DB7-9DA8-0467A47D5BD0}"/>
                </a:ext>
              </a:extLst>
            </p:cNvPr>
            <p:cNvSpPr/>
            <p:nvPr/>
          </p:nvSpPr>
          <p:spPr bwMode="auto">
            <a:xfrm>
              <a:off x="5805488" y="2489200"/>
              <a:ext cx="119063" cy="115888"/>
            </a:xfrm>
            <a:custGeom>
              <a:avLst/>
              <a:gdLst>
                <a:gd name="T0" fmla="*/ 0 w 75"/>
                <a:gd name="T1" fmla="*/ 0 h 73"/>
                <a:gd name="T2" fmla="*/ 0 w 75"/>
                <a:gd name="T3" fmla="*/ 0 h 73"/>
                <a:gd name="T4" fmla="*/ 0 w 75"/>
                <a:gd name="T5" fmla="*/ 12 h 73"/>
                <a:gd name="T6" fmla="*/ 75 w 75"/>
                <a:gd name="T7" fmla="*/ 73 h 73"/>
                <a:gd name="T8" fmla="*/ 75 w 75"/>
                <a:gd name="T9" fmla="*/ 60 h 73"/>
                <a:gd name="T10" fmla="*/ 0 w 7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3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5" y="73"/>
                  </a:lnTo>
                  <a:lnTo>
                    <a:pt x="75" y="6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ïS1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7621EF5-B451-4A0D-B1D9-7315C7BAA54A}"/>
                </a:ext>
              </a:extLst>
            </p:cNvPr>
            <p:cNvSpPr/>
            <p:nvPr/>
          </p:nvSpPr>
          <p:spPr bwMode="auto">
            <a:xfrm>
              <a:off x="4254500" y="2973388"/>
              <a:ext cx="468313" cy="655638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iSḻ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38DD108-EE17-47DE-B830-74ADADDD986C}"/>
                </a:ext>
              </a:extLst>
            </p:cNvPr>
            <p:cNvSpPr/>
            <p:nvPr/>
          </p:nvSpPr>
          <p:spPr bwMode="auto">
            <a:xfrm>
              <a:off x="4370388" y="3041650"/>
              <a:ext cx="352425" cy="587375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7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8" y="232"/>
                    <a:pt x="17" y="227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í$1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41C723-C278-4D42-A51D-7BD706E2CB7F}"/>
                </a:ext>
              </a:extLst>
            </p:cNvPr>
            <p:cNvSpPr/>
            <p:nvPr/>
          </p:nvSpPr>
          <p:spPr bwMode="auto">
            <a:xfrm>
              <a:off x="4254500" y="3522663"/>
              <a:ext cx="17463" cy="50800"/>
            </a:xfrm>
            <a:custGeom>
              <a:avLst/>
              <a:gdLst>
                <a:gd name="T0" fmla="*/ 0 w 7"/>
                <a:gd name="T1" fmla="*/ 0 h 20"/>
                <a:gd name="T2" fmla="*/ 0 w 7"/>
                <a:gd name="T3" fmla="*/ 0 h 20"/>
                <a:gd name="T4" fmla="*/ 7 w 7"/>
                <a:gd name="T5" fmla="*/ 20 h 20"/>
                <a:gd name="T6" fmla="*/ 7 w 7"/>
                <a:gd name="T7" fmla="*/ 20 h 20"/>
                <a:gd name="T8" fmla="*/ 0 w 7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4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3" y="14"/>
                    <a:pt x="0" y="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îṧl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DB83D18-8C12-42EE-A6FB-BB93B9230256}"/>
                </a:ext>
              </a:extLst>
            </p:cNvPr>
            <p:cNvSpPr/>
            <p:nvPr/>
          </p:nvSpPr>
          <p:spPr bwMode="auto">
            <a:xfrm>
              <a:off x="4271963" y="3573463"/>
              <a:ext cx="98425" cy="50800"/>
            </a:xfrm>
            <a:custGeom>
              <a:avLst/>
              <a:gdLst>
                <a:gd name="T0" fmla="*/ 0 w 39"/>
                <a:gd name="T1" fmla="*/ 0 h 20"/>
                <a:gd name="T2" fmla="*/ 0 w 39"/>
                <a:gd name="T3" fmla="*/ 0 h 20"/>
                <a:gd name="T4" fmla="*/ 10 w 39"/>
                <a:gd name="T5" fmla="*/ 9 h 20"/>
                <a:gd name="T6" fmla="*/ 23 w 39"/>
                <a:gd name="T7" fmla="*/ 17 h 20"/>
                <a:gd name="T8" fmla="*/ 39 w 39"/>
                <a:gd name="T9" fmla="*/ 20 h 20"/>
                <a:gd name="T10" fmla="*/ 23 w 39"/>
                <a:gd name="T11" fmla="*/ 17 h 20"/>
                <a:gd name="T12" fmla="*/ 10 w 39"/>
                <a:gd name="T13" fmla="*/ 9 h 20"/>
                <a:gd name="T14" fmla="*/ 0 w 39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7"/>
                    <a:pt x="10" y="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7" y="19"/>
                    <a:pt x="33" y="20"/>
                    <a:pt x="39" y="20"/>
                  </a:cubicBezTo>
                  <a:cubicBezTo>
                    <a:pt x="33" y="20"/>
                    <a:pt x="27" y="19"/>
                    <a:pt x="23" y="17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6" y="7"/>
                    <a:pt x="3" y="4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ïsḻ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2980E3A-981C-4E5D-974B-A31A6BE4EBFA}"/>
                </a:ext>
              </a:extLst>
            </p:cNvPr>
            <p:cNvSpPr/>
            <p:nvPr/>
          </p:nvSpPr>
          <p:spPr bwMode="auto">
            <a:xfrm>
              <a:off x="4254500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7 w 60"/>
                <a:gd name="T7" fmla="*/ 158 h 178"/>
                <a:gd name="T8" fmla="*/ 17 w 60"/>
                <a:gd name="T9" fmla="*/ 167 h 178"/>
                <a:gd name="T10" fmla="*/ 30 w 60"/>
                <a:gd name="T11" fmla="*/ 175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5 w 60"/>
                <a:gd name="T19" fmla="*/ 177 h 178"/>
                <a:gd name="T20" fmla="*/ 46 w 60"/>
                <a:gd name="T21" fmla="*/ 165 h 178"/>
                <a:gd name="T22" fmla="*/ 46 w 60"/>
                <a:gd name="T23" fmla="*/ 43 h 178"/>
                <a:gd name="T24" fmla="*/ 46 w 60"/>
                <a:gd name="T25" fmla="*/ 43 h 178"/>
                <a:gd name="T26" fmla="*/ 46 w 60"/>
                <a:gd name="T27" fmla="*/ 43 h 178"/>
                <a:gd name="T28" fmla="*/ 51 w 60"/>
                <a:gd name="T29" fmla="*/ 27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5"/>
                    <a:pt x="3" y="152"/>
                    <a:pt x="7" y="158"/>
                  </a:cubicBezTo>
                  <a:cubicBezTo>
                    <a:pt x="10" y="162"/>
                    <a:pt x="13" y="165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8"/>
                    <a:pt x="48" y="32"/>
                    <a:pt x="51" y="27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ïŝlî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4E89927-14EA-4D0F-9874-BD1BCA66A495}"/>
                </a:ext>
              </a:extLst>
            </p:cNvPr>
            <p:cNvSpPr/>
            <p:nvPr/>
          </p:nvSpPr>
          <p:spPr bwMode="auto">
            <a:xfrm>
              <a:off x="4370388" y="3241675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iṥl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A2FC33-018F-49D9-81F0-0D94CA1A2D54}"/>
                </a:ext>
              </a:extLst>
            </p:cNvPr>
            <p:cNvSpPr/>
            <p:nvPr/>
          </p:nvSpPr>
          <p:spPr bwMode="auto">
            <a:xfrm>
              <a:off x="4614863" y="2979738"/>
              <a:ext cx="39688" cy="12700"/>
            </a:xfrm>
            <a:custGeom>
              <a:avLst/>
              <a:gdLst>
                <a:gd name="T0" fmla="*/ 0 w 16"/>
                <a:gd name="T1" fmla="*/ 0 h 5"/>
                <a:gd name="T2" fmla="*/ 13 w 16"/>
                <a:gd name="T3" fmla="*/ 4 h 5"/>
                <a:gd name="T4" fmla="*/ 16 w 16"/>
                <a:gd name="T5" fmla="*/ 5 h 5"/>
                <a:gd name="T6" fmla="*/ 13 w 16"/>
                <a:gd name="T7" fmla="*/ 4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iş1í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5F071EF-2FDE-48B8-82EE-84B045E2B6BB}"/>
                </a:ext>
              </a:extLst>
            </p:cNvPr>
            <p:cNvSpPr/>
            <p:nvPr/>
          </p:nvSpPr>
          <p:spPr bwMode="auto">
            <a:xfrm>
              <a:off x="4267200" y="2979738"/>
              <a:ext cx="455613" cy="261938"/>
            </a:xfrm>
            <a:custGeom>
              <a:avLst/>
              <a:gdLst>
                <a:gd name="T0" fmla="*/ 134 w 180"/>
                <a:gd name="T1" fmla="*/ 0 h 104"/>
                <a:gd name="T2" fmla="*/ 117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46 w 180"/>
                <a:gd name="T9" fmla="*/ 104 h 104"/>
                <a:gd name="T10" fmla="*/ 57 w 180"/>
                <a:gd name="T11" fmla="*/ 92 h 104"/>
                <a:gd name="T12" fmla="*/ 57 w 180"/>
                <a:gd name="T13" fmla="*/ 92 h 104"/>
                <a:gd name="T14" fmla="*/ 57 w 180"/>
                <a:gd name="T15" fmla="*/ 92 h 104"/>
                <a:gd name="T16" fmla="*/ 58 w 180"/>
                <a:gd name="T17" fmla="*/ 91 h 104"/>
                <a:gd name="T18" fmla="*/ 164 w 180"/>
                <a:gd name="T19" fmla="*/ 30 h 104"/>
                <a:gd name="T20" fmla="*/ 171 w 180"/>
                <a:gd name="T21" fmla="*/ 28 h 104"/>
                <a:gd name="T22" fmla="*/ 180 w 180"/>
                <a:gd name="T23" fmla="*/ 37 h 104"/>
                <a:gd name="T24" fmla="*/ 164 w 180"/>
                <a:gd name="T25" fmla="*/ 11 h 104"/>
                <a:gd name="T26" fmla="*/ 153 w 180"/>
                <a:gd name="T27" fmla="*/ 5 h 104"/>
                <a:gd name="T28" fmla="*/ 150 w 180"/>
                <a:gd name="T29" fmla="*/ 4 h 104"/>
                <a:gd name="T30" fmla="*/ 137 w 180"/>
                <a:gd name="T31" fmla="*/ 0 h 104"/>
                <a:gd name="T32" fmla="*/ 134 w 180"/>
                <a:gd name="T3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7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4" name="íṡḻ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C85692-1B24-4630-B217-F25952087212}"/>
                </a:ext>
              </a:extLst>
            </p:cNvPr>
            <p:cNvSpPr/>
            <p:nvPr/>
          </p:nvSpPr>
          <p:spPr bwMode="auto">
            <a:xfrm>
              <a:off x="4411663" y="3049588"/>
              <a:ext cx="311150" cy="161925"/>
            </a:xfrm>
            <a:custGeom>
              <a:avLst/>
              <a:gdLst>
                <a:gd name="T0" fmla="*/ 0 w 123"/>
                <a:gd name="T1" fmla="*/ 64 h 64"/>
                <a:gd name="T2" fmla="*/ 0 w 123"/>
                <a:gd name="T3" fmla="*/ 64 h 64"/>
                <a:gd name="T4" fmla="*/ 0 w 123"/>
                <a:gd name="T5" fmla="*/ 64 h 64"/>
                <a:gd name="T6" fmla="*/ 114 w 123"/>
                <a:gd name="T7" fmla="*/ 0 h 64"/>
                <a:gd name="T8" fmla="*/ 107 w 123"/>
                <a:gd name="T9" fmla="*/ 2 h 64"/>
                <a:gd name="T10" fmla="*/ 1 w 123"/>
                <a:gd name="T11" fmla="*/ 63 h 64"/>
                <a:gd name="T12" fmla="*/ 0 w 123"/>
                <a:gd name="T13" fmla="*/ 64 h 64"/>
                <a:gd name="T14" fmla="*/ 1 w 123"/>
                <a:gd name="T15" fmla="*/ 63 h 64"/>
                <a:gd name="T16" fmla="*/ 107 w 123"/>
                <a:gd name="T17" fmla="*/ 2 h 64"/>
                <a:gd name="T18" fmla="*/ 114 w 123"/>
                <a:gd name="T19" fmla="*/ 0 h 64"/>
                <a:gd name="T20" fmla="*/ 123 w 123"/>
                <a:gd name="T21" fmla="*/ 9 h 64"/>
                <a:gd name="T22" fmla="*/ 123 w 123"/>
                <a:gd name="T23" fmla="*/ 9 h 64"/>
                <a:gd name="T24" fmla="*/ 114 w 123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64">
                  <a:moveTo>
                    <a:pt x="0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moveTo>
                    <a:pt x="114" y="0"/>
                  </a:moveTo>
                  <a:cubicBezTo>
                    <a:pt x="112" y="0"/>
                    <a:pt x="109" y="1"/>
                    <a:pt x="107" y="2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3"/>
                    <a:pt x="1" y="64"/>
                    <a:pt x="0" y="64"/>
                  </a:cubicBezTo>
                  <a:cubicBezTo>
                    <a:pt x="1" y="64"/>
                    <a:pt x="1" y="63"/>
                    <a:pt x="1" y="63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9" y="1"/>
                    <a:pt x="112" y="0"/>
                    <a:pt x="114" y="0"/>
                  </a:cubicBezTo>
                  <a:cubicBezTo>
                    <a:pt x="119" y="0"/>
                    <a:pt x="122" y="3"/>
                    <a:pt x="123" y="9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2" y="3"/>
                    <a:pt x="119" y="0"/>
                    <a:pt x="11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íṧľ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2CF606-F739-4C0F-A172-03A99FA5EA25}"/>
                </a:ext>
              </a:extLst>
            </p:cNvPr>
            <p:cNvSpPr/>
            <p:nvPr/>
          </p:nvSpPr>
          <p:spPr bwMode="auto">
            <a:xfrm>
              <a:off x="4440238" y="3173413"/>
              <a:ext cx="214313" cy="327025"/>
            </a:xfrm>
            <a:custGeom>
              <a:avLst/>
              <a:gdLst>
                <a:gd name="T0" fmla="*/ 66 w 85"/>
                <a:gd name="T1" fmla="*/ 75 h 129"/>
                <a:gd name="T2" fmla="*/ 76 w 85"/>
                <a:gd name="T3" fmla="*/ 25 h 129"/>
                <a:gd name="T4" fmla="*/ 85 w 85"/>
                <a:gd name="T5" fmla="*/ 8 h 129"/>
                <a:gd name="T6" fmla="*/ 75 w 85"/>
                <a:gd name="T7" fmla="*/ 17 h 129"/>
                <a:gd name="T8" fmla="*/ 83 w 85"/>
                <a:gd name="T9" fmla="*/ 0 h 129"/>
                <a:gd name="T10" fmla="*/ 72 w 85"/>
                <a:gd name="T11" fmla="*/ 12 h 129"/>
                <a:gd name="T12" fmla="*/ 59 w 85"/>
                <a:gd name="T13" fmla="*/ 12 h 129"/>
                <a:gd name="T14" fmla="*/ 42 w 85"/>
                <a:gd name="T15" fmla="*/ 50 h 129"/>
                <a:gd name="T16" fmla="*/ 6 w 85"/>
                <a:gd name="T17" fmla="*/ 47 h 129"/>
                <a:gd name="T18" fmla="*/ 12 w 85"/>
                <a:gd name="T19" fmla="*/ 74 h 129"/>
                <a:gd name="T20" fmla="*/ 4 w 85"/>
                <a:gd name="T21" fmla="*/ 76 h 129"/>
                <a:gd name="T22" fmla="*/ 18 w 85"/>
                <a:gd name="T23" fmla="*/ 91 h 129"/>
                <a:gd name="T24" fmla="*/ 10 w 85"/>
                <a:gd name="T25" fmla="*/ 96 h 129"/>
                <a:gd name="T26" fmla="*/ 26 w 85"/>
                <a:gd name="T27" fmla="*/ 103 h 129"/>
                <a:gd name="T28" fmla="*/ 0 w 85"/>
                <a:gd name="T29" fmla="*/ 127 h 129"/>
                <a:gd name="T30" fmla="*/ 27 w 85"/>
                <a:gd name="T31" fmla="*/ 122 h 129"/>
                <a:gd name="T32" fmla="*/ 66 w 85"/>
                <a:gd name="T33" fmla="*/ 7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129">
                  <a:moveTo>
                    <a:pt x="66" y="75"/>
                  </a:moveTo>
                  <a:cubicBezTo>
                    <a:pt x="73" y="58"/>
                    <a:pt x="77" y="40"/>
                    <a:pt x="76" y="25"/>
                  </a:cubicBezTo>
                  <a:cubicBezTo>
                    <a:pt x="80" y="19"/>
                    <a:pt x="83" y="14"/>
                    <a:pt x="85" y="8"/>
                  </a:cubicBezTo>
                  <a:cubicBezTo>
                    <a:pt x="82" y="11"/>
                    <a:pt x="79" y="14"/>
                    <a:pt x="75" y="17"/>
                  </a:cubicBezTo>
                  <a:cubicBezTo>
                    <a:pt x="79" y="12"/>
                    <a:pt x="81" y="6"/>
                    <a:pt x="83" y="0"/>
                  </a:cubicBezTo>
                  <a:cubicBezTo>
                    <a:pt x="79" y="4"/>
                    <a:pt x="76" y="8"/>
                    <a:pt x="72" y="12"/>
                  </a:cubicBezTo>
                  <a:cubicBezTo>
                    <a:pt x="69" y="9"/>
                    <a:pt x="64" y="9"/>
                    <a:pt x="59" y="12"/>
                  </a:cubicBezTo>
                  <a:cubicBezTo>
                    <a:pt x="48" y="18"/>
                    <a:pt x="40" y="37"/>
                    <a:pt x="42" y="50"/>
                  </a:cubicBezTo>
                  <a:cubicBezTo>
                    <a:pt x="28" y="57"/>
                    <a:pt x="15" y="56"/>
                    <a:pt x="6" y="47"/>
                  </a:cubicBezTo>
                  <a:cubicBezTo>
                    <a:pt x="2" y="60"/>
                    <a:pt x="4" y="72"/>
                    <a:pt x="12" y="74"/>
                  </a:cubicBezTo>
                  <a:cubicBezTo>
                    <a:pt x="9" y="76"/>
                    <a:pt x="6" y="76"/>
                    <a:pt x="4" y="76"/>
                  </a:cubicBezTo>
                  <a:cubicBezTo>
                    <a:pt x="4" y="87"/>
                    <a:pt x="9" y="94"/>
                    <a:pt x="18" y="91"/>
                  </a:cubicBezTo>
                  <a:cubicBezTo>
                    <a:pt x="15" y="93"/>
                    <a:pt x="13" y="95"/>
                    <a:pt x="10" y="96"/>
                  </a:cubicBezTo>
                  <a:cubicBezTo>
                    <a:pt x="12" y="104"/>
                    <a:pt x="18" y="107"/>
                    <a:pt x="26" y="103"/>
                  </a:cubicBezTo>
                  <a:cubicBezTo>
                    <a:pt x="19" y="115"/>
                    <a:pt x="10" y="123"/>
                    <a:pt x="0" y="127"/>
                  </a:cubicBezTo>
                  <a:cubicBezTo>
                    <a:pt x="8" y="129"/>
                    <a:pt x="17" y="128"/>
                    <a:pt x="27" y="122"/>
                  </a:cubicBezTo>
                  <a:cubicBezTo>
                    <a:pt x="44" y="112"/>
                    <a:pt x="57" y="94"/>
                    <a:pt x="66" y="7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6" name="ïśḷ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A44EF01-2B95-4534-B84D-BA8F0BE5D45A}"/>
                </a:ext>
              </a:extLst>
            </p:cNvPr>
            <p:cNvSpPr/>
            <p:nvPr/>
          </p:nvSpPr>
          <p:spPr bwMode="auto">
            <a:xfrm>
              <a:off x="5641975" y="2973388"/>
              <a:ext cx="469900" cy="655638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6 h 259"/>
                <a:gd name="T4" fmla="*/ 155 w 185"/>
                <a:gd name="T5" fmla="*/ 6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4 h 259"/>
                <a:gd name="T16" fmla="*/ 30 w 185"/>
                <a:gd name="T17" fmla="*/ 254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6"/>
                    <a:pt x="123" y="6"/>
                    <a:pt x="123" y="6"/>
                  </a:cubicBezTo>
                  <a:cubicBezTo>
                    <a:pt x="132" y="0"/>
                    <a:pt x="146" y="0"/>
                    <a:pt x="155" y="6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9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54" y="259"/>
                    <a:pt x="39" y="259"/>
                    <a:pt x="30" y="254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1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5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iŝḷ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E546575-38F6-45F9-9B2F-9E362FDF50E2}"/>
                </a:ext>
              </a:extLst>
            </p:cNvPr>
            <p:cNvSpPr/>
            <p:nvPr/>
          </p:nvSpPr>
          <p:spPr bwMode="auto">
            <a:xfrm>
              <a:off x="5761038" y="3041650"/>
              <a:ext cx="350838" cy="587375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7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8"/>
                    <a:pt x="7" y="232"/>
                    <a:pt x="16" y="227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8" name="iS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F6ED96A-55A5-477E-953C-B66EA1FCCE0A}"/>
                </a:ext>
              </a:extLst>
            </p:cNvPr>
            <p:cNvSpPr/>
            <p:nvPr/>
          </p:nvSpPr>
          <p:spPr bwMode="auto">
            <a:xfrm>
              <a:off x="6002338" y="2979738"/>
              <a:ext cx="42863" cy="14288"/>
            </a:xfrm>
            <a:custGeom>
              <a:avLst/>
              <a:gdLst>
                <a:gd name="T0" fmla="*/ 0 w 17"/>
                <a:gd name="T1" fmla="*/ 0 h 6"/>
                <a:gd name="T2" fmla="*/ 13 w 17"/>
                <a:gd name="T3" fmla="*/ 4 h 6"/>
                <a:gd name="T4" fmla="*/ 17 w 17"/>
                <a:gd name="T5" fmla="*/ 6 h 6"/>
                <a:gd name="T6" fmla="*/ 13 w 17"/>
                <a:gd name="T7" fmla="*/ 4 h 6"/>
                <a:gd name="T8" fmla="*/ 0 w 1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0" y="0"/>
                  </a:moveTo>
                  <a:cubicBezTo>
                    <a:pt x="5" y="0"/>
                    <a:pt x="10" y="1"/>
                    <a:pt x="13" y="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iṩ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1ED6B31-CC53-405E-9774-2CAA30E8A095}"/>
                </a:ext>
              </a:extLst>
            </p:cNvPr>
            <p:cNvSpPr/>
            <p:nvPr/>
          </p:nvSpPr>
          <p:spPr bwMode="auto">
            <a:xfrm>
              <a:off x="5654675" y="2979738"/>
              <a:ext cx="457200" cy="261938"/>
            </a:xfrm>
            <a:custGeom>
              <a:avLst/>
              <a:gdLst>
                <a:gd name="T0" fmla="*/ 134 w 180"/>
                <a:gd name="T1" fmla="*/ 0 h 104"/>
                <a:gd name="T2" fmla="*/ 118 w 180"/>
                <a:gd name="T3" fmla="*/ 4 h 104"/>
                <a:gd name="T4" fmla="*/ 12 w 180"/>
                <a:gd name="T5" fmla="*/ 65 h 104"/>
                <a:gd name="T6" fmla="*/ 0 w 180"/>
                <a:gd name="T7" fmla="*/ 77 h 104"/>
                <a:gd name="T8" fmla="*/ 11 w 180"/>
                <a:gd name="T9" fmla="*/ 83 h 104"/>
                <a:gd name="T10" fmla="*/ 46 w 180"/>
                <a:gd name="T11" fmla="*/ 104 h 104"/>
                <a:gd name="T12" fmla="*/ 58 w 180"/>
                <a:gd name="T13" fmla="*/ 91 h 104"/>
                <a:gd name="T14" fmla="*/ 147 w 180"/>
                <a:gd name="T15" fmla="*/ 40 h 104"/>
                <a:gd name="T16" fmla="*/ 164 w 180"/>
                <a:gd name="T17" fmla="*/ 30 h 104"/>
                <a:gd name="T18" fmla="*/ 171 w 180"/>
                <a:gd name="T19" fmla="*/ 28 h 104"/>
                <a:gd name="T20" fmla="*/ 180 w 180"/>
                <a:gd name="T21" fmla="*/ 37 h 104"/>
                <a:gd name="T22" fmla="*/ 164 w 180"/>
                <a:gd name="T23" fmla="*/ 11 h 104"/>
                <a:gd name="T24" fmla="*/ 154 w 180"/>
                <a:gd name="T25" fmla="*/ 6 h 104"/>
                <a:gd name="T26" fmla="*/ 150 w 180"/>
                <a:gd name="T27" fmla="*/ 4 h 104"/>
                <a:gd name="T28" fmla="*/ 137 w 180"/>
                <a:gd name="T29" fmla="*/ 0 h 104"/>
                <a:gd name="T30" fmla="*/ 134 w 180"/>
                <a:gd name="T3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8" y="0"/>
                    <a:pt x="122" y="1"/>
                    <a:pt x="118" y="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7" y="67"/>
                    <a:pt x="3" y="72"/>
                    <a:pt x="0" y="77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8" y="91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6" y="29"/>
                    <a:pt x="169" y="28"/>
                    <a:pt x="171" y="28"/>
                  </a:cubicBezTo>
                  <a:cubicBezTo>
                    <a:pt x="176" y="28"/>
                    <a:pt x="179" y="31"/>
                    <a:pt x="180" y="37"/>
                  </a:cubicBezTo>
                  <a:cubicBezTo>
                    <a:pt x="179" y="27"/>
                    <a:pt x="172" y="16"/>
                    <a:pt x="164" y="11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7" y="1"/>
                    <a:pt x="142" y="0"/>
                    <a:pt x="137" y="0"/>
                  </a:cubicBezTo>
                  <a:cubicBezTo>
                    <a:pt x="136" y="0"/>
                    <a:pt x="135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íşļ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DE2977-62F7-4EE6-BD03-A73EA81136CB}"/>
                </a:ext>
              </a:extLst>
            </p:cNvPr>
            <p:cNvSpPr/>
            <p:nvPr/>
          </p:nvSpPr>
          <p:spPr bwMode="auto">
            <a:xfrm>
              <a:off x="6027738" y="3049588"/>
              <a:ext cx="84138" cy="30163"/>
            </a:xfrm>
            <a:custGeom>
              <a:avLst/>
              <a:gdLst>
                <a:gd name="T0" fmla="*/ 24 w 33"/>
                <a:gd name="T1" fmla="*/ 0 h 12"/>
                <a:gd name="T2" fmla="*/ 17 w 33"/>
                <a:gd name="T3" fmla="*/ 2 h 12"/>
                <a:gd name="T4" fmla="*/ 0 w 33"/>
                <a:gd name="T5" fmla="*/ 12 h 12"/>
                <a:gd name="T6" fmla="*/ 17 w 33"/>
                <a:gd name="T7" fmla="*/ 2 h 12"/>
                <a:gd name="T8" fmla="*/ 24 w 33"/>
                <a:gd name="T9" fmla="*/ 0 h 12"/>
                <a:gd name="T10" fmla="*/ 33 w 33"/>
                <a:gd name="T11" fmla="*/ 9 h 12"/>
                <a:gd name="T12" fmla="*/ 33 w 33"/>
                <a:gd name="T13" fmla="*/ 9 h 12"/>
                <a:gd name="T14" fmla="*/ 24 w 33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2">
                  <a:moveTo>
                    <a:pt x="24" y="0"/>
                  </a:moveTo>
                  <a:cubicBezTo>
                    <a:pt x="22" y="0"/>
                    <a:pt x="19" y="1"/>
                    <a:pt x="17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9" y="1"/>
                    <a:pt x="22" y="0"/>
                    <a:pt x="24" y="0"/>
                  </a:cubicBezTo>
                  <a:cubicBezTo>
                    <a:pt x="29" y="0"/>
                    <a:pt x="32" y="3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3"/>
                    <a:pt x="29" y="0"/>
                    <a:pt x="2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iśḻ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C811207-3A5A-40D5-A9C0-3F3F7325D3AD}"/>
                </a:ext>
              </a:extLst>
            </p:cNvPr>
            <p:cNvSpPr/>
            <p:nvPr/>
          </p:nvSpPr>
          <p:spPr bwMode="auto">
            <a:xfrm>
              <a:off x="5641975" y="3173413"/>
              <a:ext cx="12700" cy="41275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íṥľ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DC1A762-77BB-4923-A84B-128147BB854C}"/>
                </a:ext>
              </a:extLst>
            </p:cNvPr>
            <p:cNvSpPr/>
            <p:nvPr/>
          </p:nvSpPr>
          <p:spPr bwMode="auto">
            <a:xfrm>
              <a:off x="5641975" y="3173413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38 h 178"/>
                <a:gd name="T6" fmla="*/ 17 w 60"/>
                <a:gd name="T7" fmla="*/ 167 h 178"/>
                <a:gd name="T8" fmla="*/ 30 w 60"/>
                <a:gd name="T9" fmla="*/ 175 h 178"/>
                <a:gd name="T10" fmla="*/ 46 w 60"/>
                <a:gd name="T11" fmla="*/ 178 h 178"/>
                <a:gd name="T12" fmla="*/ 60 w 60"/>
                <a:gd name="T13" fmla="*/ 176 h 178"/>
                <a:gd name="T14" fmla="*/ 56 w 60"/>
                <a:gd name="T15" fmla="*/ 177 h 178"/>
                <a:gd name="T16" fmla="*/ 47 w 60"/>
                <a:gd name="T17" fmla="*/ 165 h 178"/>
                <a:gd name="T18" fmla="*/ 47 w 60"/>
                <a:gd name="T19" fmla="*/ 43 h 178"/>
                <a:gd name="T20" fmla="*/ 47 w 60"/>
                <a:gd name="T21" fmla="*/ 36 h 178"/>
                <a:gd name="T22" fmla="*/ 51 w 60"/>
                <a:gd name="T23" fmla="*/ 27 h 178"/>
                <a:gd name="T24" fmla="*/ 51 w 60"/>
                <a:gd name="T25" fmla="*/ 27 h 178"/>
                <a:gd name="T26" fmla="*/ 51 w 60"/>
                <a:gd name="T27" fmla="*/ 27 h 178"/>
                <a:gd name="T28" fmla="*/ 16 w 60"/>
                <a:gd name="T29" fmla="*/ 6 h 178"/>
                <a:gd name="T30" fmla="*/ 5 w 60"/>
                <a:gd name="T3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2"/>
                    <a:pt x="17" y="167"/>
                  </a:cubicBezTo>
                  <a:cubicBezTo>
                    <a:pt x="30" y="175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8"/>
                    <a:pt x="60" y="176"/>
                  </a:cubicBezTo>
                  <a:cubicBezTo>
                    <a:pt x="58" y="177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ïšl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3C4A70-2D00-4B03-B111-F95B2E8A97F5}"/>
                </a:ext>
              </a:extLst>
            </p:cNvPr>
            <p:cNvSpPr/>
            <p:nvPr/>
          </p:nvSpPr>
          <p:spPr bwMode="auto">
            <a:xfrm>
              <a:off x="5761038" y="3265488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1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ï$ḻ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2AD3C28-66F3-403C-A082-11BDD1997930}"/>
                </a:ext>
              </a:extLst>
            </p:cNvPr>
            <p:cNvSpPr/>
            <p:nvPr/>
          </p:nvSpPr>
          <p:spPr bwMode="auto">
            <a:xfrm>
              <a:off x="5683250" y="3189288"/>
              <a:ext cx="88900" cy="52388"/>
            </a:xfrm>
            <a:custGeom>
              <a:avLst/>
              <a:gdLst>
                <a:gd name="T0" fmla="*/ 0 w 35"/>
                <a:gd name="T1" fmla="*/ 0 h 21"/>
                <a:gd name="T2" fmla="*/ 35 w 35"/>
                <a:gd name="T3" fmla="*/ 21 h 21"/>
                <a:gd name="T4" fmla="*/ 35 w 35"/>
                <a:gd name="T5" fmla="*/ 21 h 21"/>
                <a:gd name="T6" fmla="*/ 0 w 35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1">
                  <a:moveTo>
                    <a:pt x="0" y="0"/>
                  </a:move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ïṣḻ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19665D4-B62B-4F4A-BC23-D9FECDC69F64}"/>
                </a:ext>
              </a:extLst>
            </p:cNvPr>
            <p:cNvSpPr/>
            <p:nvPr/>
          </p:nvSpPr>
          <p:spPr bwMode="auto">
            <a:xfrm>
              <a:off x="5837238" y="3189288"/>
              <a:ext cx="193675" cy="295275"/>
            </a:xfrm>
            <a:custGeom>
              <a:avLst/>
              <a:gdLst>
                <a:gd name="T0" fmla="*/ 75 w 76"/>
                <a:gd name="T1" fmla="*/ 64 h 117"/>
                <a:gd name="T2" fmla="*/ 75 w 76"/>
                <a:gd name="T3" fmla="*/ 64 h 117"/>
                <a:gd name="T4" fmla="*/ 73 w 76"/>
                <a:gd name="T5" fmla="*/ 64 h 117"/>
                <a:gd name="T6" fmla="*/ 59 w 76"/>
                <a:gd name="T7" fmla="*/ 52 h 117"/>
                <a:gd name="T8" fmla="*/ 59 w 76"/>
                <a:gd name="T9" fmla="*/ 48 h 117"/>
                <a:gd name="T10" fmla="*/ 63 w 76"/>
                <a:gd name="T11" fmla="*/ 43 h 117"/>
                <a:gd name="T12" fmla="*/ 67 w 76"/>
                <a:gd name="T13" fmla="*/ 36 h 117"/>
                <a:gd name="T14" fmla="*/ 68 w 76"/>
                <a:gd name="T15" fmla="*/ 35 h 117"/>
                <a:gd name="T16" fmla="*/ 68 w 76"/>
                <a:gd name="T17" fmla="*/ 32 h 117"/>
                <a:gd name="T18" fmla="*/ 67 w 76"/>
                <a:gd name="T19" fmla="*/ 31 h 117"/>
                <a:gd name="T20" fmla="*/ 64 w 76"/>
                <a:gd name="T21" fmla="*/ 32 h 117"/>
                <a:gd name="T22" fmla="*/ 61 w 76"/>
                <a:gd name="T23" fmla="*/ 35 h 117"/>
                <a:gd name="T24" fmla="*/ 59 w 76"/>
                <a:gd name="T25" fmla="*/ 36 h 117"/>
                <a:gd name="T26" fmla="*/ 59 w 76"/>
                <a:gd name="T27" fmla="*/ 35 h 117"/>
                <a:gd name="T28" fmla="*/ 59 w 76"/>
                <a:gd name="T29" fmla="*/ 27 h 117"/>
                <a:gd name="T30" fmla="*/ 58 w 76"/>
                <a:gd name="T31" fmla="*/ 14 h 117"/>
                <a:gd name="T32" fmla="*/ 41 w 76"/>
                <a:gd name="T33" fmla="*/ 2 h 117"/>
                <a:gd name="T34" fmla="*/ 25 w 76"/>
                <a:gd name="T35" fmla="*/ 17 h 117"/>
                <a:gd name="T36" fmla="*/ 18 w 76"/>
                <a:gd name="T37" fmla="*/ 33 h 117"/>
                <a:gd name="T38" fmla="*/ 18 w 76"/>
                <a:gd name="T39" fmla="*/ 60 h 117"/>
                <a:gd name="T40" fmla="*/ 14 w 76"/>
                <a:gd name="T41" fmla="*/ 62 h 117"/>
                <a:gd name="T42" fmla="*/ 12 w 76"/>
                <a:gd name="T43" fmla="*/ 62 h 117"/>
                <a:gd name="T44" fmla="*/ 9 w 76"/>
                <a:gd name="T45" fmla="*/ 64 h 117"/>
                <a:gd name="T46" fmla="*/ 9 w 76"/>
                <a:gd name="T47" fmla="*/ 64 h 117"/>
                <a:gd name="T48" fmla="*/ 8 w 76"/>
                <a:gd name="T49" fmla="*/ 68 h 117"/>
                <a:gd name="T50" fmla="*/ 9 w 76"/>
                <a:gd name="T51" fmla="*/ 70 h 117"/>
                <a:gd name="T52" fmla="*/ 10 w 76"/>
                <a:gd name="T53" fmla="*/ 71 h 117"/>
                <a:gd name="T54" fmla="*/ 17 w 76"/>
                <a:gd name="T55" fmla="*/ 73 h 117"/>
                <a:gd name="T56" fmla="*/ 16 w 76"/>
                <a:gd name="T57" fmla="*/ 80 h 117"/>
                <a:gd name="T58" fmla="*/ 3 w 76"/>
                <a:gd name="T59" fmla="*/ 105 h 117"/>
                <a:gd name="T60" fmla="*/ 1 w 76"/>
                <a:gd name="T61" fmla="*/ 108 h 117"/>
                <a:gd name="T62" fmla="*/ 1 w 76"/>
                <a:gd name="T63" fmla="*/ 111 h 117"/>
                <a:gd name="T64" fmla="*/ 2 w 76"/>
                <a:gd name="T65" fmla="*/ 111 h 117"/>
                <a:gd name="T66" fmla="*/ 7 w 76"/>
                <a:gd name="T67" fmla="*/ 111 h 117"/>
                <a:gd name="T68" fmla="*/ 11 w 76"/>
                <a:gd name="T69" fmla="*/ 112 h 117"/>
                <a:gd name="T70" fmla="*/ 12 w 76"/>
                <a:gd name="T71" fmla="*/ 117 h 117"/>
                <a:gd name="T72" fmla="*/ 14 w 76"/>
                <a:gd name="T73" fmla="*/ 116 h 117"/>
                <a:gd name="T74" fmla="*/ 30 w 76"/>
                <a:gd name="T75" fmla="*/ 113 h 117"/>
                <a:gd name="T76" fmla="*/ 36 w 76"/>
                <a:gd name="T77" fmla="*/ 113 h 117"/>
                <a:gd name="T78" fmla="*/ 41 w 76"/>
                <a:gd name="T79" fmla="*/ 109 h 117"/>
                <a:gd name="T80" fmla="*/ 45 w 76"/>
                <a:gd name="T81" fmla="*/ 105 h 117"/>
                <a:gd name="T82" fmla="*/ 53 w 76"/>
                <a:gd name="T83" fmla="*/ 93 h 117"/>
                <a:gd name="T84" fmla="*/ 57 w 76"/>
                <a:gd name="T85" fmla="*/ 90 h 117"/>
                <a:gd name="T86" fmla="*/ 64 w 76"/>
                <a:gd name="T87" fmla="*/ 87 h 117"/>
                <a:gd name="T88" fmla="*/ 65 w 76"/>
                <a:gd name="T89" fmla="*/ 86 h 117"/>
                <a:gd name="T90" fmla="*/ 65 w 76"/>
                <a:gd name="T91" fmla="*/ 84 h 117"/>
                <a:gd name="T92" fmla="*/ 66 w 76"/>
                <a:gd name="T93" fmla="*/ 78 h 117"/>
                <a:gd name="T94" fmla="*/ 68 w 76"/>
                <a:gd name="T95" fmla="*/ 77 h 117"/>
                <a:gd name="T96" fmla="*/ 73 w 76"/>
                <a:gd name="T97" fmla="*/ 71 h 117"/>
                <a:gd name="T98" fmla="*/ 75 w 76"/>
                <a:gd name="T99" fmla="*/ 6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117">
                  <a:moveTo>
                    <a:pt x="75" y="64"/>
                  </a:move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4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9" y="65"/>
                    <a:pt x="65" y="63"/>
                    <a:pt x="63" y="59"/>
                  </a:cubicBezTo>
                  <a:cubicBezTo>
                    <a:pt x="61" y="57"/>
                    <a:pt x="60" y="55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1"/>
                    <a:pt x="59" y="49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60" y="46"/>
                    <a:pt x="61" y="44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4" y="41"/>
                    <a:pt x="66" y="39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5"/>
                    <a:pt x="68" y="35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3"/>
                    <a:pt x="68" y="33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1"/>
                    <a:pt x="67" y="31"/>
                    <a:pt x="6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3" y="33"/>
                    <a:pt x="62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3"/>
                    <a:pt x="59" y="30"/>
                    <a:pt x="5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3"/>
                    <a:pt x="59" y="19"/>
                    <a:pt x="58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8"/>
                    <a:pt x="55" y="3"/>
                    <a:pt x="51" y="1"/>
                  </a:cubicBezTo>
                  <a:cubicBezTo>
                    <a:pt x="48" y="0"/>
                    <a:pt x="45" y="0"/>
                    <a:pt x="41" y="2"/>
                  </a:cubicBezTo>
                  <a:cubicBezTo>
                    <a:pt x="40" y="2"/>
                    <a:pt x="39" y="3"/>
                    <a:pt x="38" y="3"/>
                  </a:cubicBezTo>
                  <a:cubicBezTo>
                    <a:pt x="33" y="6"/>
                    <a:pt x="28" y="11"/>
                    <a:pt x="25" y="17"/>
                  </a:cubicBezTo>
                  <a:cubicBezTo>
                    <a:pt x="22" y="22"/>
                    <a:pt x="20" y="28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7" y="39"/>
                    <a:pt x="17" y="45"/>
                    <a:pt x="17" y="50"/>
                  </a:cubicBezTo>
                  <a:cubicBezTo>
                    <a:pt x="18" y="53"/>
                    <a:pt x="18" y="56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1"/>
                    <a:pt x="15" y="61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3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1" y="62"/>
                    <a:pt x="10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5"/>
                    <a:pt x="8" y="67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69"/>
                    <a:pt x="8" y="70"/>
                    <a:pt x="9" y="70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3" y="71"/>
                    <a:pt x="15" y="71"/>
                  </a:cubicBezTo>
                  <a:cubicBezTo>
                    <a:pt x="16" y="71"/>
                    <a:pt x="17" y="72"/>
                    <a:pt x="17" y="73"/>
                  </a:cubicBezTo>
                  <a:cubicBezTo>
                    <a:pt x="17" y="75"/>
                    <a:pt x="17" y="77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4" y="86"/>
                    <a:pt x="12" y="92"/>
                    <a:pt x="8" y="98"/>
                  </a:cubicBezTo>
                  <a:cubicBezTo>
                    <a:pt x="7" y="101"/>
                    <a:pt x="5" y="103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1" y="106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0" y="110"/>
                    <a:pt x="1" y="111"/>
                    <a:pt x="1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3" y="112"/>
                    <a:pt x="5" y="112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8" y="111"/>
                    <a:pt x="9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1" y="113"/>
                    <a:pt x="11" y="115"/>
                    <a:pt x="11" y="116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6"/>
                    <a:pt x="13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6" y="113"/>
                    <a:pt x="19" y="111"/>
                    <a:pt x="22" y="111"/>
                  </a:cubicBezTo>
                  <a:cubicBezTo>
                    <a:pt x="25" y="110"/>
                    <a:pt x="27" y="112"/>
                    <a:pt x="30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1" y="113"/>
                    <a:pt x="34" y="114"/>
                    <a:pt x="36" y="113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8" y="112"/>
                    <a:pt x="39" y="110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3" y="108"/>
                    <a:pt x="44" y="107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8" y="100"/>
                    <a:pt x="51" y="96"/>
                    <a:pt x="53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2"/>
                    <a:pt x="56" y="91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9" y="89"/>
                    <a:pt x="61" y="88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6"/>
                    <a:pt x="64" y="86"/>
                    <a:pt x="65" y="8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2"/>
                    <a:pt x="66" y="80"/>
                    <a:pt x="66" y="78"/>
                  </a:cubicBezTo>
                  <a:cubicBezTo>
                    <a:pt x="67" y="78"/>
                    <a:pt x="67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70" y="75"/>
                    <a:pt x="72" y="73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4" y="70"/>
                    <a:pt x="75" y="69"/>
                    <a:pt x="75" y="68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6"/>
                    <a:pt x="76" y="65"/>
                    <a:pt x="75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í$ľï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32585BC-B01B-4730-ACE4-0FC889EC96FB}"/>
                </a:ext>
              </a:extLst>
            </p:cNvPr>
            <p:cNvSpPr/>
            <p:nvPr/>
          </p:nvSpPr>
          <p:spPr bwMode="auto">
            <a:xfrm>
              <a:off x="5641975" y="3897313"/>
              <a:ext cx="469900" cy="654050"/>
            </a:xfrm>
            <a:custGeom>
              <a:avLst/>
              <a:gdLst>
                <a:gd name="T0" fmla="*/ 17 w 185"/>
                <a:gd name="T1" fmla="*/ 67 h 259"/>
                <a:gd name="T2" fmla="*/ 123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3" y="5"/>
                    <a:pt x="123" y="5"/>
                    <a:pt x="123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îṣļ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A8346EF-EF39-4038-A091-D13611543B0C}"/>
                </a:ext>
              </a:extLst>
            </p:cNvPr>
            <p:cNvSpPr/>
            <p:nvPr/>
          </p:nvSpPr>
          <p:spPr bwMode="auto">
            <a:xfrm>
              <a:off x="5761038" y="3965575"/>
              <a:ext cx="350838" cy="585788"/>
            </a:xfrm>
            <a:custGeom>
              <a:avLst/>
              <a:gdLst>
                <a:gd name="T0" fmla="*/ 138 w 138"/>
                <a:gd name="T1" fmla="*/ 15 h 232"/>
                <a:gd name="T2" fmla="*/ 122 w 138"/>
                <a:gd name="T3" fmla="*/ 5 h 232"/>
                <a:gd name="T4" fmla="*/ 16 w 138"/>
                <a:gd name="T5" fmla="*/ 66 h 232"/>
                <a:gd name="T6" fmla="*/ 0 w 138"/>
                <a:gd name="T7" fmla="*/ 95 h 232"/>
                <a:gd name="T8" fmla="*/ 0 w 138"/>
                <a:gd name="T9" fmla="*/ 217 h 232"/>
                <a:gd name="T10" fmla="*/ 16 w 138"/>
                <a:gd name="T11" fmla="*/ 226 h 232"/>
                <a:gd name="T12" fmla="*/ 122 w 138"/>
                <a:gd name="T13" fmla="*/ 165 h 232"/>
                <a:gd name="T14" fmla="*/ 138 w 138"/>
                <a:gd name="T15" fmla="*/ 137 h 232"/>
                <a:gd name="T16" fmla="*/ 138 w 138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232">
                  <a:moveTo>
                    <a:pt x="138" y="15"/>
                  </a:moveTo>
                  <a:cubicBezTo>
                    <a:pt x="138" y="4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32"/>
                    <a:pt x="16" y="226"/>
                  </a:cubicBezTo>
                  <a:cubicBezTo>
                    <a:pt x="122" y="165"/>
                    <a:pt x="122" y="165"/>
                    <a:pt x="122" y="165"/>
                  </a:cubicBezTo>
                  <a:cubicBezTo>
                    <a:pt x="131" y="160"/>
                    <a:pt x="138" y="147"/>
                    <a:pt x="138" y="137"/>
                  </a:cubicBezTo>
                  <a:cubicBezTo>
                    <a:pt x="138" y="15"/>
                    <a:pt x="138" y="15"/>
                    <a:pt x="138" y="15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8" name="ís1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D009981-E95B-457C-976F-8DFA66975915}"/>
                </a:ext>
              </a:extLst>
            </p:cNvPr>
            <p:cNvSpPr/>
            <p:nvPr/>
          </p:nvSpPr>
          <p:spPr bwMode="auto">
            <a:xfrm>
              <a:off x="5829300" y="4167188"/>
              <a:ext cx="109538" cy="252413"/>
            </a:xfrm>
            <a:custGeom>
              <a:avLst/>
              <a:gdLst>
                <a:gd name="T0" fmla="*/ 31 w 43"/>
                <a:gd name="T1" fmla="*/ 81 h 100"/>
                <a:gd name="T2" fmla="*/ 37 w 43"/>
                <a:gd name="T3" fmla="*/ 73 h 100"/>
                <a:gd name="T4" fmla="*/ 40 w 43"/>
                <a:gd name="T5" fmla="*/ 65 h 100"/>
                <a:gd name="T6" fmla="*/ 43 w 43"/>
                <a:gd name="T7" fmla="*/ 50 h 100"/>
                <a:gd name="T8" fmla="*/ 41 w 43"/>
                <a:gd name="T9" fmla="*/ 40 h 100"/>
                <a:gd name="T10" fmla="*/ 35 w 43"/>
                <a:gd name="T11" fmla="*/ 36 h 100"/>
                <a:gd name="T12" fmla="*/ 39 w 43"/>
                <a:gd name="T13" fmla="*/ 29 h 100"/>
                <a:gd name="T14" fmla="*/ 41 w 43"/>
                <a:gd name="T15" fmla="*/ 16 h 100"/>
                <a:gd name="T16" fmla="*/ 39 w 43"/>
                <a:gd name="T17" fmla="*/ 5 h 100"/>
                <a:gd name="T18" fmla="*/ 25 w 43"/>
                <a:gd name="T19" fmla="*/ 4 h 100"/>
                <a:gd name="T20" fmla="*/ 0 w 43"/>
                <a:gd name="T21" fmla="*/ 19 h 100"/>
                <a:gd name="T22" fmla="*/ 0 w 43"/>
                <a:gd name="T23" fmla="*/ 100 h 100"/>
                <a:gd name="T24" fmla="*/ 23 w 43"/>
                <a:gd name="T25" fmla="*/ 86 h 100"/>
                <a:gd name="T26" fmla="*/ 31 w 43"/>
                <a:gd name="T27" fmla="*/ 81 h 100"/>
                <a:gd name="T28" fmla="*/ 10 w 43"/>
                <a:gd name="T29" fmla="*/ 27 h 100"/>
                <a:gd name="T30" fmla="*/ 21 w 43"/>
                <a:gd name="T31" fmla="*/ 20 h 100"/>
                <a:gd name="T32" fmla="*/ 28 w 43"/>
                <a:gd name="T33" fmla="*/ 18 h 100"/>
                <a:gd name="T34" fmla="*/ 30 w 43"/>
                <a:gd name="T35" fmla="*/ 24 h 100"/>
                <a:gd name="T36" fmla="*/ 28 w 43"/>
                <a:gd name="T37" fmla="*/ 32 h 100"/>
                <a:gd name="T38" fmla="*/ 23 w 43"/>
                <a:gd name="T39" fmla="*/ 37 h 100"/>
                <a:gd name="T40" fmla="*/ 10 w 43"/>
                <a:gd name="T41" fmla="*/ 45 h 100"/>
                <a:gd name="T42" fmla="*/ 10 w 43"/>
                <a:gd name="T43" fmla="*/ 27 h 100"/>
                <a:gd name="T44" fmla="*/ 10 w 43"/>
                <a:gd name="T45" fmla="*/ 80 h 100"/>
                <a:gd name="T46" fmla="*/ 10 w 43"/>
                <a:gd name="T47" fmla="*/ 58 h 100"/>
                <a:gd name="T48" fmla="*/ 23 w 43"/>
                <a:gd name="T49" fmla="*/ 50 h 100"/>
                <a:gd name="T50" fmla="*/ 28 w 43"/>
                <a:gd name="T51" fmla="*/ 49 h 100"/>
                <a:gd name="T52" fmla="*/ 32 w 43"/>
                <a:gd name="T53" fmla="*/ 56 h 100"/>
                <a:gd name="T54" fmla="*/ 28 w 43"/>
                <a:gd name="T55" fmla="*/ 68 h 100"/>
                <a:gd name="T56" fmla="*/ 23 w 43"/>
                <a:gd name="T57" fmla="*/ 72 h 100"/>
                <a:gd name="T58" fmla="*/ 10 w 43"/>
                <a:gd name="T59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100">
                  <a:moveTo>
                    <a:pt x="31" y="81"/>
                  </a:moveTo>
                  <a:cubicBezTo>
                    <a:pt x="33" y="79"/>
                    <a:pt x="35" y="76"/>
                    <a:pt x="37" y="73"/>
                  </a:cubicBezTo>
                  <a:cubicBezTo>
                    <a:pt x="38" y="71"/>
                    <a:pt x="39" y="68"/>
                    <a:pt x="40" y="65"/>
                  </a:cubicBezTo>
                  <a:cubicBezTo>
                    <a:pt x="42" y="60"/>
                    <a:pt x="43" y="55"/>
                    <a:pt x="43" y="50"/>
                  </a:cubicBezTo>
                  <a:cubicBezTo>
                    <a:pt x="43" y="46"/>
                    <a:pt x="42" y="42"/>
                    <a:pt x="41" y="40"/>
                  </a:cubicBezTo>
                  <a:cubicBezTo>
                    <a:pt x="39" y="37"/>
                    <a:pt x="37" y="36"/>
                    <a:pt x="35" y="36"/>
                  </a:cubicBezTo>
                  <a:cubicBezTo>
                    <a:pt x="36" y="34"/>
                    <a:pt x="38" y="31"/>
                    <a:pt x="39" y="29"/>
                  </a:cubicBezTo>
                  <a:cubicBezTo>
                    <a:pt x="40" y="25"/>
                    <a:pt x="41" y="21"/>
                    <a:pt x="41" y="16"/>
                  </a:cubicBezTo>
                  <a:cubicBezTo>
                    <a:pt x="41" y="11"/>
                    <a:pt x="40" y="7"/>
                    <a:pt x="39" y="5"/>
                  </a:cubicBezTo>
                  <a:cubicBezTo>
                    <a:pt x="36" y="1"/>
                    <a:pt x="31" y="0"/>
                    <a:pt x="25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4"/>
                    <a:pt x="28" y="83"/>
                    <a:pt x="31" y="81"/>
                  </a:cubicBezTo>
                  <a:close/>
                  <a:moveTo>
                    <a:pt x="10" y="27"/>
                  </a:moveTo>
                  <a:cubicBezTo>
                    <a:pt x="21" y="20"/>
                    <a:pt x="21" y="20"/>
                    <a:pt x="21" y="20"/>
                  </a:cubicBezTo>
                  <a:cubicBezTo>
                    <a:pt x="24" y="19"/>
                    <a:pt x="26" y="18"/>
                    <a:pt x="28" y="18"/>
                  </a:cubicBezTo>
                  <a:cubicBezTo>
                    <a:pt x="30" y="18"/>
                    <a:pt x="30" y="20"/>
                    <a:pt x="30" y="24"/>
                  </a:cubicBezTo>
                  <a:cubicBezTo>
                    <a:pt x="30" y="27"/>
                    <a:pt x="30" y="30"/>
                    <a:pt x="28" y="32"/>
                  </a:cubicBezTo>
                  <a:cubicBezTo>
                    <a:pt x="27" y="34"/>
                    <a:pt x="25" y="36"/>
                    <a:pt x="23" y="37"/>
                  </a:cubicBezTo>
                  <a:cubicBezTo>
                    <a:pt x="10" y="45"/>
                    <a:pt x="10" y="45"/>
                    <a:pt x="10" y="45"/>
                  </a:cubicBezTo>
                  <a:lnTo>
                    <a:pt x="10" y="27"/>
                  </a:lnTo>
                  <a:close/>
                  <a:moveTo>
                    <a:pt x="10" y="80"/>
                  </a:moveTo>
                  <a:cubicBezTo>
                    <a:pt x="10" y="58"/>
                    <a:pt x="10" y="58"/>
                    <a:pt x="10" y="58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5" y="49"/>
                    <a:pt x="27" y="49"/>
                    <a:pt x="28" y="49"/>
                  </a:cubicBezTo>
                  <a:cubicBezTo>
                    <a:pt x="30" y="49"/>
                    <a:pt x="32" y="51"/>
                    <a:pt x="32" y="56"/>
                  </a:cubicBezTo>
                  <a:cubicBezTo>
                    <a:pt x="32" y="61"/>
                    <a:pt x="30" y="65"/>
                    <a:pt x="28" y="68"/>
                  </a:cubicBezTo>
                  <a:cubicBezTo>
                    <a:pt x="27" y="69"/>
                    <a:pt x="25" y="71"/>
                    <a:pt x="23" y="72"/>
                  </a:cubicBezTo>
                  <a:lnTo>
                    <a:pt x="10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îšl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849F2BB-974C-4485-A1FB-49AA152C6EF5}"/>
                </a:ext>
              </a:extLst>
            </p:cNvPr>
            <p:cNvSpPr/>
            <p:nvPr/>
          </p:nvSpPr>
          <p:spPr bwMode="auto">
            <a:xfrm>
              <a:off x="5946775" y="4162425"/>
              <a:ext cx="96838" cy="174625"/>
            </a:xfrm>
            <a:custGeom>
              <a:avLst/>
              <a:gdLst>
                <a:gd name="T0" fmla="*/ 6 w 38"/>
                <a:gd name="T1" fmla="*/ 66 h 69"/>
                <a:gd name="T2" fmla="*/ 19 w 38"/>
                <a:gd name="T3" fmla="*/ 66 h 69"/>
                <a:gd name="T4" fmla="*/ 34 w 38"/>
                <a:gd name="T5" fmla="*/ 49 h 69"/>
                <a:gd name="T6" fmla="*/ 38 w 38"/>
                <a:gd name="T7" fmla="*/ 36 h 69"/>
                <a:gd name="T8" fmla="*/ 27 w 38"/>
                <a:gd name="T9" fmla="*/ 42 h 69"/>
                <a:gd name="T10" fmla="*/ 25 w 38"/>
                <a:gd name="T11" fmla="*/ 47 h 69"/>
                <a:gd name="T12" fmla="*/ 20 w 38"/>
                <a:gd name="T13" fmla="*/ 53 h 69"/>
                <a:gd name="T14" fmla="*/ 14 w 38"/>
                <a:gd name="T15" fmla="*/ 54 h 69"/>
                <a:gd name="T16" fmla="*/ 10 w 38"/>
                <a:gd name="T17" fmla="*/ 44 h 69"/>
                <a:gd name="T18" fmla="*/ 38 w 38"/>
                <a:gd name="T19" fmla="*/ 27 h 69"/>
                <a:gd name="T20" fmla="*/ 38 w 38"/>
                <a:gd name="T21" fmla="*/ 16 h 69"/>
                <a:gd name="T22" fmla="*/ 35 w 38"/>
                <a:gd name="T23" fmla="*/ 5 h 69"/>
                <a:gd name="T24" fmla="*/ 28 w 38"/>
                <a:gd name="T25" fmla="*/ 0 h 69"/>
                <a:gd name="T26" fmla="*/ 19 w 38"/>
                <a:gd name="T27" fmla="*/ 2 h 69"/>
                <a:gd name="T28" fmla="*/ 5 w 38"/>
                <a:gd name="T29" fmla="*/ 19 h 69"/>
                <a:gd name="T30" fmla="*/ 0 w 38"/>
                <a:gd name="T31" fmla="*/ 46 h 69"/>
                <a:gd name="T32" fmla="*/ 6 w 38"/>
                <a:gd name="T33" fmla="*/ 66 h 69"/>
                <a:gd name="T34" fmla="*/ 13 w 38"/>
                <a:gd name="T35" fmla="*/ 22 h 69"/>
                <a:gd name="T36" fmla="*/ 19 w 38"/>
                <a:gd name="T37" fmla="*/ 15 h 69"/>
                <a:gd name="T38" fmla="*/ 25 w 38"/>
                <a:gd name="T39" fmla="*/ 15 h 69"/>
                <a:gd name="T40" fmla="*/ 28 w 38"/>
                <a:gd name="T41" fmla="*/ 23 h 69"/>
                <a:gd name="T42" fmla="*/ 10 w 38"/>
                <a:gd name="T43" fmla="*/ 33 h 69"/>
                <a:gd name="T44" fmla="*/ 13 w 38"/>
                <a:gd name="T45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69">
                  <a:moveTo>
                    <a:pt x="6" y="66"/>
                  </a:moveTo>
                  <a:cubicBezTo>
                    <a:pt x="10" y="69"/>
                    <a:pt x="14" y="69"/>
                    <a:pt x="19" y="66"/>
                  </a:cubicBezTo>
                  <a:cubicBezTo>
                    <a:pt x="26" y="62"/>
                    <a:pt x="30" y="56"/>
                    <a:pt x="34" y="49"/>
                  </a:cubicBezTo>
                  <a:cubicBezTo>
                    <a:pt x="36" y="44"/>
                    <a:pt x="37" y="39"/>
                    <a:pt x="38" y="36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4"/>
                    <a:pt x="26" y="45"/>
                    <a:pt x="25" y="47"/>
                  </a:cubicBezTo>
                  <a:cubicBezTo>
                    <a:pt x="24" y="50"/>
                    <a:pt x="22" y="52"/>
                    <a:pt x="20" y="53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1" y="53"/>
                    <a:pt x="10" y="49"/>
                    <a:pt x="10" y="4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2"/>
                    <a:pt x="38" y="18"/>
                    <a:pt x="38" y="16"/>
                  </a:cubicBezTo>
                  <a:cubicBezTo>
                    <a:pt x="37" y="11"/>
                    <a:pt x="36" y="8"/>
                    <a:pt x="35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2" y="0"/>
                    <a:pt x="19" y="2"/>
                  </a:cubicBezTo>
                  <a:cubicBezTo>
                    <a:pt x="13" y="6"/>
                    <a:pt x="9" y="11"/>
                    <a:pt x="5" y="19"/>
                  </a:cubicBezTo>
                  <a:cubicBezTo>
                    <a:pt x="1" y="26"/>
                    <a:pt x="0" y="35"/>
                    <a:pt x="0" y="46"/>
                  </a:cubicBezTo>
                  <a:cubicBezTo>
                    <a:pt x="0" y="57"/>
                    <a:pt x="2" y="64"/>
                    <a:pt x="6" y="66"/>
                  </a:cubicBezTo>
                  <a:close/>
                  <a:moveTo>
                    <a:pt x="13" y="22"/>
                  </a:moveTo>
                  <a:cubicBezTo>
                    <a:pt x="14" y="19"/>
                    <a:pt x="16" y="17"/>
                    <a:pt x="19" y="15"/>
                  </a:cubicBezTo>
                  <a:cubicBezTo>
                    <a:pt x="21" y="14"/>
                    <a:pt x="23" y="14"/>
                    <a:pt x="25" y="15"/>
                  </a:cubicBezTo>
                  <a:cubicBezTo>
                    <a:pt x="27" y="16"/>
                    <a:pt x="27" y="19"/>
                    <a:pt x="28" y="2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1" y="25"/>
                    <a:pt x="1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ïṩľ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7E1A79B-BF9C-458F-B890-6C919B5C1327}"/>
                </a:ext>
              </a:extLst>
            </p:cNvPr>
            <p:cNvSpPr/>
            <p:nvPr/>
          </p:nvSpPr>
          <p:spPr bwMode="auto">
            <a:xfrm>
              <a:off x="5964238" y="4114800"/>
              <a:ext cx="58738" cy="55563"/>
            </a:xfrm>
            <a:custGeom>
              <a:avLst/>
              <a:gdLst>
                <a:gd name="T0" fmla="*/ 37 w 37"/>
                <a:gd name="T1" fmla="*/ 0 h 35"/>
                <a:gd name="T2" fmla="*/ 0 w 37"/>
                <a:gd name="T3" fmla="*/ 22 h 35"/>
                <a:gd name="T4" fmla="*/ 0 w 37"/>
                <a:gd name="T5" fmla="*/ 35 h 35"/>
                <a:gd name="T6" fmla="*/ 37 w 37"/>
                <a:gd name="T7" fmla="*/ 14 h 35"/>
                <a:gd name="T8" fmla="*/ 37 w 37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37" y="0"/>
                  </a:moveTo>
                  <a:lnTo>
                    <a:pt x="0" y="22"/>
                  </a:lnTo>
                  <a:lnTo>
                    <a:pt x="0" y="35"/>
                  </a:lnTo>
                  <a:lnTo>
                    <a:pt x="37" y="1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iṩ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567BD69-CC1C-4759-AA69-9399F1FF5A89}"/>
                </a:ext>
              </a:extLst>
            </p:cNvPr>
            <p:cNvSpPr/>
            <p:nvPr/>
          </p:nvSpPr>
          <p:spPr bwMode="auto">
            <a:xfrm>
              <a:off x="5959475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0 w 35"/>
                <a:gd name="T7" fmla="*/ 3 h 7"/>
                <a:gd name="T8" fmla="*/ 0 w 35"/>
                <a:gd name="T9" fmla="*/ 3 h 7"/>
                <a:gd name="T10" fmla="*/ 0 w 35"/>
                <a:gd name="T11" fmla="*/ 3 h 7"/>
                <a:gd name="T12" fmla="*/ 14 w 35"/>
                <a:gd name="T13" fmla="*/ 0 h 7"/>
                <a:gd name="T14" fmla="*/ 0 w 35"/>
                <a:gd name="T15" fmla="*/ 3 h 7"/>
                <a:gd name="T16" fmla="*/ 14 w 35"/>
                <a:gd name="T17" fmla="*/ 0 h 7"/>
                <a:gd name="T18" fmla="*/ 30 w 35"/>
                <a:gd name="T19" fmla="*/ 4 h 7"/>
                <a:gd name="T20" fmla="*/ 35 w 35"/>
                <a:gd name="T21" fmla="*/ 7 h 7"/>
                <a:gd name="T22" fmla="*/ 30 w 35"/>
                <a:gd name="T23" fmla="*/ 4 h 7"/>
                <a:gd name="T24" fmla="*/ 14 w 35"/>
                <a:gd name="T2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išľí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987FEC-825A-481D-BBFA-DFD012B0C019}"/>
                </a:ext>
              </a:extLst>
            </p:cNvPr>
            <p:cNvSpPr/>
            <p:nvPr/>
          </p:nvSpPr>
          <p:spPr bwMode="auto">
            <a:xfrm>
              <a:off x="5654675" y="3898900"/>
              <a:ext cx="457200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20 w 180"/>
                <a:gd name="T9" fmla="*/ 3 h 104"/>
                <a:gd name="T10" fmla="*/ 120 w 180"/>
                <a:gd name="T11" fmla="*/ 3 h 104"/>
                <a:gd name="T12" fmla="*/ 118 w 180"/>
                <a:gd name="T13" fmla="*/ 4 h 104"/>
                <a:gd name="T14" fmla="*/ 12 w 180"/>
                <a:gd name="T15" fmla="*/ 66 h 104"/>
                <a:gd name="T16" fmla="*/ 0 w 180"/>
                <a:gd name="T17" fmla="*/ 78 h 104"/>
                <a:gd name="T18" fmla="*/ 11 w 180"/>
                <a:gd name="T19" fmla="*/ 84 h 104"/>
                <a:gd name="T20" fmla="*/ 46 w 180"/>
                <a:gd name="T21" fmla="*/ 104 h 104"/>
                <a:gd name="T22" fmla="*/ 58 w 180"/>
                <a:gd name="T23" fmla="*/ 92 h 104"/>
                <a:gd name="T24" fmla="*/ 164 w 180"/>
                <a:gd name="T25" fmla="*/ 31 h 104"/>
                <a:gd name="T26" fmla="*/ 167 w 180"/>
                <a:gd name="T27" fmla="*/ 30 h 104"/>
                <a:gd name="T28" fmla="*/ 167 w 180"/>
                <a:gd name="T29" fmla="*/ 30 h 104"/>
                <a:gd name="T30" fmla="*/ 167 w 180"/>
                <a:gd name="T31" fmla="*/ 30 h 104"/>
                <a:gd name="T32" fmla="*/ 171 w 180"/>
                <a:gd name="T33" fmla="*/ 29 h 104"/>
                <a:gd name="T34" fmla="*/ 180 w 180"/>
                <a:gd name="T35" fmla="*/ 38 h 104"/>
                <a:gd name="T36" fmla="*/ 164 w 180"/>
                <a:gd name="T37" fmla="*/ 12 h 104"/>
                <a:gd name="T38" fmla="*/ 155 w 180"/>
                <a:gd name="T39" fmla="*/ 7 h 104"/>
                <a:gd name="T40" fmla="*/ 150 w 180"/>
                <a:gd name="T41" fmla="*/ 4 h 104"/>
                <a:gd name="T42" fmla="*/ 134 w 180"/>
                <a:gd name="T4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8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5" y="31"/>
                    <a:pt x="166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8" y="29"/>
                    <a:pt x="170" y="29"/>
                    <a:pt x="171" y="29"/>
                  </a:cubicBezTo>
                  <a:cubicBezTo>
                    <a:pt x="176" y="29"/>
                    <a:pt x="179" y="32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3" name="íṣľ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1259D91-B8ED-4596-9908-705CD2155625}"/>
                </a:ext>
              </a:extLst>
            </p:cNvPr>
            <p:cNvSpPr/>
            <p:nvPr/>
          </p:nvSpPr>
          <p:spPr bwMode="auto">
            <a:xfrm>
              <a:off x="6078538" y="3971925"/>
              <a:ext cx="33338" cy="23813"/>
            </a:xfrm>
            <a:custGeom>
              <a:avLst/>
              <a:gdLst>
                <a:gd name="T0" fmla="*/ 0 w 13"/>
                <a:gd name="T1" fmla="*/ 1 h 9"/>
                <a:gd name="T2" fmla="*/ 0 w 13"/>
                <a:gd name="T3" fmla="*/ 1 h 9"/>
                <a:gd name="T4" fmla="*/ 0 w 13"/>
                <a:gd name="T5" fmla="*/ 1 h 9"/>
                <a:gd name="T6" fmla="*/ 4 w 13"/>
                <a:gd name="T7" fmla="*/ 0 h 9"/>
                <a:gd name="T8" fmla="*/ 0 w 13"/>
                <a:gd name="T9" fmla="*/ 1 h 9"/>
                <a:gd name="T10" fmla="*/ 4 w 13"/>
                <a:gd name="T11" fmla="*/ 0 h 9"/>
                <a:gd name="T12" fmla="*/ 13 w 13"/>
                <a:gd name="T13" fmla="*/ 9 h 9"/>
                <a:gd name="T14" fmla="*/ 13 w 13"/>
                <a:gd name="T15" fmla="*/ 9 h 9"/>
                <a:gd name="T16" fmla="*/ 4 w 13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4" y="0"/>
                  </a:moveTo>
                  <a:cubicBezTo>
                    <a:pt x="3" y="0"/>
                    <a:pt x="1" y="0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9" y="0"/>
                    <a:pt x="12" y="3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3"/>
                    <a:pt x="9" y="0"/>
                    <a:pt x="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iṥ1î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77E73B-53C4-4211-BAE3-42B460B6BB0C}"/>
                </a:ext>
              </a:extLst>
            </p:cNvPr>
            <p:cNvSpPr/>
            <p:nvPr/>
          </p:nvSpPr>
          <p:spPr bwMode="auto">
            <a:xfrm>
              <a:off x="5718175" y="4535488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íşli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E5A371B-3DB1-4143-8C9B-C36BC58A3DC0}"/>
                </a:ext>
              </a:extLst>
            </p:cNvPr>
            <p:cNvSpPr/>
            <p:nvPr/>
          </p:nvSpPr>
          <p:spPr bwMode="auto">
            <a:xfrm>
              <a:off x="5641975" y="4095750"/>
              <a:ext cx="152400" cy="450850"/>
            </a:xfrm>
            <a:custGeom>
              <a:avLst/>
              <a:gdLst>
                <a:gd name="T0" fmla="*/ 5 w 60"/>
                <a:gd name="T1" fmla="*/ 0 h 178"/>
                <a:gd name="T2" fmla="*/ 0 w 60"/>
                <a:gd name="T3" fmla="*/ 16 h 178"/>
                <a:gd name="T4" fmla="*/ 0 w 60"/>
                <a:gd name="T5" fmla="*/ 16 h 178"/>
                <a:gd name="T6" fmla="*/ 0 w 60"/>
                <a:gd name="T7" fmla="*/ 138 h 178"/>
                <a:gd name="T8" fmla="*/ 17 w 60"/>
                <a:gd name="T9" fmla="*/ 167 h 178"/>
                <a:gd name="T10" fmla="*/ 30 w 60"/>
                <a:gd name="T11" fmla="*/ 174 h 178"/>
                <a:gd name="T12" fmla="*/ 30 w 60"/>
                <a:gd name="T13" fmla="*/ 174 h 178"/>
                <a:gd name="T14" fmla="*/ 30 w 60"/>
                <a:gd name="T15" fmla="*/ 174 h 178"/>
                <a:gd name="T16" fmla="*/ 30 w 60"/>
                <a:gd name="T17" fmla="*/ 174 h 178"/>
                <a:gd name="T18" fmla="*/ 30 w 60"/>
                <a:gd name="T19" fmla="*/ 175 h 178"/>
                <a:gd name="T20" fmla="*/ 46 w 60"/>
                <a:gd name="T21" fmla="*/ 178 h 178"/>
                <a:gd name="T22" fmla="*/ 60 w 60"/>
                <a:gd name="T23" fmla="*/ 176 h 178"/>
                <a:gd name="T24" fmla="*/ 56 w 60"/>
                <a:gd name="T25" fmla="*/ 177 h 178"/>
                <a:gd name="T26" fmla="*/ 47 w 60"/>
                <a:gd name="T27" fmla="*/ 165 h 178"/>
                <a:gd name="T28" fmla="*/ 47 w 60"/>
                <a:gd name="T29" fmla="*/ 43 h 178"/>
                <a:gd name="T30" fmla="*/ 47 w 60"/>
                <a:gd name="T31" fmla="*/ 36 h 178"/>
                <a:gd name="T32" fmla="*/ 51 w 60"/>
                <a:gd name="T33" fmla="*/ 26 h 178"/>
                <a:gd name="T34" fmla="*/ 51 w 60"/>
                <a:gd name="T35" fmla="*/ 26 h 178"/>
                <a:gd name="T36" fmla="*/ 51 w 60"/>
                <a:gd name="T37" fmla="*/ 26 h 178"/>
                <a:gd name="T38" fmla="*/ 16 w 60"/>
                <a:gd name="T39" fmla="*/ 6 h 178"/>
                <a:gd name="T40" fmla="*/ 5 w 60"/>
                <a:gd name="T4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0" y="174"/>
                    <a:pt x="30" y="175"/>
                    <a:pt x="30" y="175"/>
                  </a:cubicBezTo>
                  <a:cubicBezTo>
                    <a:pt x="35" y="177"/>
                    <a:pt x="41" y="178"/>
                    <a:pt x="46" y="178"/>
                  </a:cubicBezTo>
                  <a:cubicBezTo>
                    <a:pt x="51" y="178"/>
                    <a:pt x="56" y="177"/>
                    <a:pt x="60" y="176"/>
                  </a:cubicBezTo>
                  <a:cubicBezTo>
                    <a:pt x="58" y="176"/>
                    <a:pt x="57" y="177"/>
                    <a:pt x="56" y="177"/>
                  </a:cubicBezTo>
                  <a:cubicBezTo>
                    <a:pt x="50" y="177"/>
                    <a:pt x="47" y="172"/>
                    <a:pt x="47" y="16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1"/>
                    <a:pt x="47" y="38"/>
                    <a:pt x="47" y="36"/>
                  </a:cubicBezTo>
                  <a:cubicBezTo>
                    <a:pt x="48" y="33"/>
                    <a:pt x="50" y="3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îsḷ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9324963-7D5A-40ED-A076-1CBD78742418}"/>
                </a:ext>
              </a:extLst>
            </p:cNvPr>
            <p:cNvSpPr/>
            <p:nvPr/>
          </p:nvSpPr>
          <p:spPr bwMode="auto">
            <a:xfrm>
              <a:off x="5761038" y="4187825"/>
              <a:ext cx="33338" cy="355600"/>
            </a:xfrm>
            <a:custGeom>
              <a:avLst/>
              <a:gdLst>
                <a:gd name="T0" fmla="*/ 0 w 13"/>
                <a:gd name="T1" fmla="*/ 0 h 141"/>
                <a:gd name="T2" fmla="*/ 0 w 13"/>
                <a:gd name="T3" fmla="*/ 7 h 141"/>
                <a:gd name="T4" fmla="*/ 0 w 13"/>
                <a:gd name="T5" fmla="*/ 129 h 141"/>
                <a:gd name="T6" fmla="*/ 9 w 13"/>
                <a:gd name="T7" fmla="*/ 141 h 141"/>
                <a:gd name="T8" fmla="*/ 13 w 13"/>
                <a:gd name="T9" fmla="*/ 140 h 141"/>
                <a:gd name="T10" fmla="*/ 13 w 13"/>
                <a:gd name="T11" fmla="*/ 140 h 141"/>
                <a:gd name="T12" fmla="*/ 9 w 13"/>
                <a:gd name="T13" fmla="*/ 141 h 141"/>
                <a:gd name="T14" fmla="*/ 0 w 13"/>
                <a:gd name="T15" fmla="*/ 129 h 141"/>
                <a:gd name="T16" fmla="*/ 0 w 13"/>
                <a:gd name="T17" fmla="*/ 7 h 141"/>
                <a:gd name="T18" fmla="*/ 0 w 13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1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6"/>
                    <a:pt x="3" y="141"/>
                    <a:pt x="9" y="141"/>
                  </a:cubicBezTo>
                  <a:cubicBezTo>
                    <a:pt x="10" y="141"/>
                    <a:pt x="11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2" y="140"/>
                    <a:pt x="10" y="141"/>
                    <a:pt x="9" y="141"/>
                  </a:cubicBezTo>
                  <a:cubicBezTo>
                    <a:pt x="3" y="141"/>
                    <a:pt x="0" y="136"/>
                    <a:pt x="0" y="12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iṩļ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DF6B37-45ED-4B38-BD24-79A4CE84724C}"/>
                </a:ext>
              </a:extLst>
            </p:cNvPr>
            <p:cNvSpPr/>
            <p:nvPr/>
          </p:nvSpPr>
          <p:spPr bwMode="auto">
            <a:xfrm>
              <a:off x="5683250" y="4111625"/>
              <a:ext cx="88900" cy="50800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20 h 20"/>
                <a:gd name="T4" fmla="*/ 35 w 35"/>
                <a:gd name="T5" fmla="*/ 20 h 20"/>
                <a:gd name="T6" fmla="*/ 0 w 35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0D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ïṡl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02903E9-CCC4-439D-A1DD-BF80794E9EC3}"/>
                </a:ext>
              </a:extLst>
            </p:cNvPr>
            <p:cNvSpPr/>
            <p:nvPr/>
          </p:nvSpPr>
          <p:spPr bwMode="auto">
            <a:xfrm>
              <a:off x="4940300" y="4176713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4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3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1"/>
                    <a:pt x="0" y="84"/>
                    <a:pt x="0" y="9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6"/>
                    <a:pt x="185" y="174"/>
                    <a:pt x="185" y="163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î$lî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7C30D3E-9031-4A31-92DF-A758C0C5266F}"/>
                </a:ext>
              </a:extLst>
            </p:cNvPr>
            <p:cNvSpPr/>
            <p:nvPr/>
          </p:nvSpPr>
          <p:spPr bwMode="auto">
            <a:xfrm>
              <a:off x="4940300" y="4402138"/>
              <a:ext cx="117475" cy="425450"/>
            </a:xfrm>
            <a:custGeom>
              <a:avLst/>
              <a:gdLst>
                <a:gd name="T0" fmla="*/ 0 w 46"/>
                <a:gd name="T1" fmla="*/ 0 h 168"/>
                <a:gd name="T2" fmla="*/ 0 w 46"/>
                <a:gd name="T3" fmla="*/ 5 h 168"/>
                <a:gd name="T4" fmla="*/ 0 w 46"/>
                <a:gd name="T5" fmla="*/ 128 h 168"/>
                <a:gd name="T6" fmla="*/ 16 w 46"/>
                <a:gd name="T7" fmla="*/ 156 h 168"/>
                <a:gd name="T8" fmla="*/ 29 w 46"/>
                <a:gd name="T9" fmla="*/ 164 h 168"/>
                <a:gd name="T10" fmla="*/ 46 w 46"/>
                <a:gd name="T11" fmla="*/ 168 h 168"/>
                <a:gd name="T12" fmla="*/ 29 w 46"/>
                <a:gd name="T13" fmla="*/ 164 h 168"/>
                <a:gd name="T14" fmla="*/ 16 w 46"/>
                <a:gd name="T15" fmla="*/ 156 h 168"/>
                <a:gd name="T16" fmla="*/ 0 w 46"/>
                <a:gd name="T17" fmla="*/ 128 h 168"/>
                <a:gd name="T18" fmla="*/ 0 w 46"/>
                <a:gd name="T19" fmla="*/ 5 h 168"/>
                <a:gd name="T20" fmla="*/ 0 w 46"/>
                <a:gd name="T2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68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8"/>
                    <a:pt x="7" y="151"/>
                    <a:pt x="16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34" y="166"/>
                    <a:pt x="40" y="168"/>
                    <a:pt x="46" y="168"/>
                  </a:cubicBezTo>
                  <a:cubicBezTo>
                    <a:pt x="40" y="168"/>
                    <a:pt x="34" y="166"/>
                    <a:pt x="29" y="164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7" y="151"/>
                    <a:pt x="0" y="138"/>
                    <a:pt x="0" y="1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îṥlî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EA83117-21B5-4CB2-AE98-A26E327B707F}"/>
                </a:ext>
              </a:extLst>
            </p:cNvPr>
            <p:cNvSpPr/>
            <p:nvPr/>
          </p:nvSpPr>
          <p:spPr bwMode="auto">
            <a:xfrm>
              <a:off x="4940300" y="4375150"/>
              <a:ext cx="152400" cy="452438"/>
            </a:xfrm>
            <a:custGeom>
              <a:avLst/>
              <a:gdLst>
                <a:gd name="T0" fmla="*/ 4 w 60"/>
                <a:gd name="T1" fmla="*/ 0 h 179"/>
                <a:gd name="T2" fmla="*/ 0 w 60"/>
                <a:gd name="T3" fmla="*/ 11 h 179"/>
                <a:gd name="T4" fmla="*/ 0 w 60"/>
                <a:gd name="T5" fmla="*/ 16 h 179"/>
                <a:gd name="T6" fmla="*/ 0 w 60"/>
                <a:gd name="T7" fmla="*/ 139 h 179"/>
                <a:gd name="T8" fmla="*/ 16 w 60"/>
                <a:gd name="T9" fmla="*/ 167 h 179"/>
                <a:gd name="T10" fmla="*/ 29 w 60"/>
                <a:gd name="T11" fmla="*/ 175 h 179"/>
                <a:gd name="T12" fmla="*/ 46 w 60"/>
                <a:gd name="T13" fmla="*/ 179 h 179"/>
                <a:gd name="T14" fmla="*/ 46 w 60"/>
                <a:gd name="T15" fmla="*/ 179 h 179"/>
                <a:gd name="T16" fmla="*/ 60 w 60"/>
                <a:gd name="T17" fmla="*/ 176 h 179"/>
                <a:gd name="T18" fmla="*/ 59 w 60"/>
                <a:gd name="T19" fmla="*/ 176 h 179"/>
                <a:gd name="T20" fmla="*/ 55 w 60"/>
                <a:gd name="T21" fmla="*/ 177 h 179"/>
                <a:gd name="T22" fmla="*/ 48 w 60"/>
                <a:gd name="T23" fmla="*/ 174 h 179"/>
                <a:gd name="T24" fmla="*/ 46 w 60"/>
                <a:gd name="T25" fmla="*/ 165 h 179"/>
                <a:gd name="T26" fmla="*/ 46 w 60"/>
                <a:gd name="T27" fmla="*/ 43 h 179"/>
                <a:gd name="T28" fmla="*/ 46 w 60"/>
                <a:gd name="T29" fmla="*/ 42 h 179"/>
                <a:gd name="T30" fmla="*/ 51 w 60"/>
                <a:gd name="T31" fmla="*/ 27 h 179"/>
                <a:gd name="T32" fmla="*/ 4 w 60"/>
                <a:gd name="T3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79">
                  <a:moveTo>
                    <a:pt x="4" y="0"/>
                  </a:moveTo>
                  <a:cubicBezTo>
                    <a:pt x="2" y="4"/>
                    <a:pt x="1" y="7"/>
                    <a:pt x="0" y="11"/>
                  </a:cubicBezTo>
                  <a:cubicBezTo>
                    <a:pt x="0" y="13"/>
                    <a:pt x="0" y="15"/>
                    <a:pt x="0" y="1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9"/>
                    <a:pt x="7" y="162"/>
                    <a:pt x="16" y="167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34" y="177"/>
                    <a:pt x="40" y="179"/>
                    <a:pt x="46" y="179"/>
                  </a:cubicBezTo>
                  <a:cubicBezTo>
                    <a:pt x="46" y="179"/>
                    <a:pt x="46" y="179"/>
                    <a:pt x="46" y="179"/>
                  </a:cubicBezTo>
                  <a:cubicBezTo>
                    <a:pt x="51" y="179"/>
                    <a:pt x="55" y="178"/>
                    <a:pt x="60" y="176"/>
                  </a:cubicBezTo>
                  <a:cubicBezTo>
                    <a:pt x="59" y="176"/>
                    <a:pt x="59" y="176"/>
                    <a:pt x="59" y="176"/>
                  </a:cubicBezTo>
                  <a:cubicBezTo>
                    <a:pt x="58" y="177"/>
                    <a:pt x="56" y="177"/>
                    <a:pt x="55" y="177"/>
                  </a:cubicBezTo>
                  <a:cubicBezTo>
                    <a:pt x="52" y="177"/>
                    <a:pt x="50" y="176"/>
                    <a:pt x="48" y="174"/>
                  </a:cubicBezTo>
                  <a:cubicBezTo>
                    <a:pt x="47" y="172"/>
                    <a:pt x="46" y="169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37"/>
                    <a:pt x="48" y="32"/>
                    <a:pt x="51" y="27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ïSļ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54CD089-3AFE-423B-B19F-D1EB3AB7A184}"/>
                </a:ext>
              </a:extLst>
            </p:cNvPr>
            <p:cNvSpPr/>
            <p:nvPr/>
          </p:nvSpPr>
          <p:spPr bwMode="auto">
            <a:xfrm>
              <a:off x="5097463" y="4275138"/>
              <a:ext cx="312738" cy="541338"/>
            </a:xfrm>
            <a:custGeom>
              <a:avLst/>
              <a:gdLst>
                <a:gd name="T0" fmla="*/ 0 w 123"/>
                <a:gd name="T1" fmla="*/ 214 h 214"/>
                <a:gd name="T2" fmla="*/ 0 w 123"/>
                <a:gd name="T3" fmla="*/ 214 h 214"/>
                <a:gd name="T4" fmla="*/ 0 w 123"/>
                <a:gd name="T5" fmla="*/ 214 h 214"/>
                <a:gd name="T6" fmla="*/ 0 w 123"/>
                <a:gd name="T7" fmla="*/ 214 h 214"/>
                <a:gd name="T8" fmla="*/ 0 w 123"/>
                <a:gd name="T9" fmla="*/ 214 h 214"/>
                <a:gd name="T10" fmla="*/ 0 w 123"/>
                <a:gd name="T11" fmla="*/ 214 h 214"/>
                <a:gd name="T12" fmla="*/ 0 w 123"/>
                <a:gd name="T13" fmla="*/ 214 h 214"/>
                <a:gd name="T14" fmla="*/ 0 w 123"/>
                <a:gd name="T15" fmla="*/ 214 h 214"/>
                <a:gd name="T16" fmla="*/ 0 w 123"/>
                <a:gd name="T17" fmla="*/ 214 h 214"/>
                <a:gd name="T18" fmla="*/ 122 w 123"/>
                <a:gd name="T19" fmla="*/ 0 h 214"/>
                <a:gd name="T20" fmla="*/ 123 w 123"/>
                <a:gd name="T21" fmla="*/ 2 h 214"/>
                <a:gd name="T22" fmla="*/ 123 w 123"/>
                <a:gd name="T23" fmla="*/ 124 h 214"/>
                <a:gd name="T24" fmla="*/ 123 w 123"/>
                <a:gd name="T25" fmla="*/ 125 h 214"/>
                <a:gd name="T26" fmla="*/ 123 w 123"/>
                <a:gd name="T27" fmla="*/ 124 h 214"/>
                <a:gd name="T28" fmla="*/ 123 w 123"/>
                <a:gd name="T29" fmla="*/ 2 h 214"/>
                <a:gd name="T30" fmla="*/ 122 w 123"/>
                <a:gd name="T3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3" h="214"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0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214"/>
                    <a:pt x="0" y="214"/>
                    <a:pt x="0" y="214"/>
                  </a:cubicBezTo>
                  <a:moveTo>
                    <a:pt x="122" y="0"/>
                  </a:moveTo>
                  <a:cubicBezTo>
                    <a:pt x="123" y="1"/>
                    <a:pt x="123" y="1"/>
                    <a:pt x="123" y="2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124"/>
                    <a:pt x="123" y="125"/>
                    <a:pt x="123" y="125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3" y="1"/>
                    <a:pt x="123" y="1"/>
                    <a:pt x="122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íŝļ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8C96A50-CAC0-4D65-BAD4-DB951BCED83C}"/>
                </a:ext>
              </a:extLst>
            </p:cNvPr>
            <p:cNvSpPr/>
            <p:nvPr/>
          </p:nvSpPr>
          <p:spPr bwMode="auto">
            <a:xfrm>
              <a:off x="5057775" y="4251325"/>
              <a:ext cx="352425" cy="569913"/>
            </a:xfrm>
            <a:custGeom>
              <a:avLst/>
              <a:gdLst>
                <a:gd name="T0" fmla="*/ 129 w 139"/>
                <a:gd name="T1" fmla="*/ 0 h 226"/>
                <a:gd name="T2" fmla="*/ 122 w 139"/>
                <a:gd name="T3" fmla="*/ 3 h 226"/>
                <a:gd name="T4" fmla="*/ 16 w 139"/>
                <a:gd name="T5" fmla="*/ 64 h 226"/>
                <a:gd name="T6" fmla="*/ 5 w 139"/>
                <a:gd name="T7" fmla="*/ 76 h 226"/>
                <a:gd name="T8" fmla="*/ 5 w 139"/>
                <a:gd name="T9" fmla="*/ 76 h 226"/>
                <a:gd name="T10" fmla="*/ 5 w 139"/>
                <a:gd name="T11" fmla="*/ 76 h 226"/>
                <a:gd name="T12" fmla="*/ 5 w 139"/>
                <a:gd name="T13" fmla="*/ 76 h 226"/>
                <a:gd name="T14" fmla="*/ 0 w 139"/>
                <a:gd name="T15" fmla="*/ 91 h 226"/>
                <a:gd name="T16" fmla="*/ 0 w 139"/>
                <a:gd name="T17" fmla="*/ 92 h 226"/>
                <a:gd name="T18" fmla="*/ 0 w 139"/>
                <a:gd name="T19" fmla="*/ 214 h 226"/>
                <a:gd name="T20" fmla="*/ 2 w 139"/>
                <a:gd name="T21" fmla="*/ 223 h 226"/>
                <a:gd name="T22" fmla="*/ 9 w 139"/>
                <a:gd name="T23" fmla="*/ 226 h 226"/>
                <a:gd name="T24" fmla="*/ 13 w 139"/>
                <a:gd name="T25" fmla="*/ 225 h 226"/>
                <a:gd name="T26" fmla="*/ 16 w 139"/>
                <a:gd name="T27" fmla="*/ 224 h 226"/>
                <a:gd name="T28" fmla="*/ 16 w 139"/>
                <a:gd name="T29" fmla="*/ 224 h 226"/>
                <a:gd name="T30" fmla="*/ 16 w 139"/>
                <a:gd name="T31" fmla="*/ 224 h 226"/>
                <a:gd name="T32" fmla="*/ 16 w 139"/>
                <a:gd name="T33" fmla="*/ 224 h 226"/>
                <a:gd name="T34" fmla="*/ 16 w 139"/>
                <a:gd name="T35" fmla="*/ 224 h 226"/>
                <a:gd name="T36" fmla="*/ 16 w 139"/>
                <a:gd name="T37" fmla="*/ 224 h 226"/>
                <a:gd name="T38" fmla="*/ 16 w 139"/>
                <a:gd name="T39" fmla="*/ 224 h 226"/>
                <a:gd name="T40" fmla="*/ 122 w 139"/>
                <a:gd name="T41" fmla="*/ 163 h 226"/>
                <a:gd name="T42" fmla="*/ 139 w 139"/>
                <a:gd name="T43" fmla="*/ 135 h 226"/>
                <a:gd name="T44" fmla="*/ 139 w 139"/>
                <a:gd name="T45" fmla="*/ 134 h 226"/>
                <a:gd name="T46" fmla="*/ 139 w 139"/>
                <a:gd name="T47" fmla="*/ 12 h 226"/>
                <a:gd name="T48" fmla="*/ 138 w 139"/>
                <a:gd name="T49" fmla="*/ 10 h 226"/>
                <a:gd name="T50" fmla="*/ 138 w 139"/>
                <a:gd name="T51" fmla="*/ 9 h 226"/>
                <a:gd name="T52" fmla="*/ 138 w 139"/>
                <a:gd name="T53" fmla="*/ 9 h 226"/>
                <a:gd name="T54" fmla="*/ 129 w 139"/>
                <a:gd name="T55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9" h="226">
                  <a:moveTo>
                    <a:pt x="129" y="0"/>
                  </a:moveTo>
                  <a:cubicBezTo>
                    <a:pt x="127" y="0"/>
                    <a:pt x="125" y="1"/>
                    <a:pt x="122" y="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8" y="71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2" y="81"/>
                    <a:pt x="0" y="86"/>
                    <a:pt x="0" y="91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8"/>
                    <a:pt x="1" y="221"/>
                    <a:pt x="2" y="223"/>
                  </a:cubicBezTo>
                  <a:cubicBezTo>
                    <a:pt x="4" y="225"/>
                    <a:pt x="6" y="226"/>
                    <a:pt x="9" y="226"/>
                  </a:cubicBezTo>
                  <a:cubicBezTo>
                    <a:pt x="10" y="226"/>
                    <a:pt x="12" y="226"/>
                    <a:pt x="13" y="225"/>
                  </a:cubicBezTo>
                  <a:cubicBezTo>
                    <a:pt x="14" y="225"/>
                    <a:pt x="15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31" y="157"/>
                    <a:pt x="138" y="145"/>
                    <a:pt x="139" y="135"/>
                  </a:cubicBezTo>
                  <a:cubicBezTo>
                    <a:pt x="139" y="135"/>
                    <a:pt x="139" y="134"/>
                    <a:pt x="139" y="134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9" y="11"/>
                    <a:pt x="139" y="11"/>
                    <a:pt x="138" y="1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4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i$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4D7A55F-8C18-4602-B247-F4DDC7B652D1}"/>
                </a:ext>
              </a:extLst>
            </p:cNvPr>
            <p:cNvSpPr/>
            <p:nvPr/>
          </p:nvSpPr>
          <p:spPr bwMode="auto">
            <a:xfrm>
              <a:off x="5057775" y="4443413"/>
              <a:ext cx="33338" cy="377825"/>
            </a:xfrm>
            <a:custGeom>
              <a:avLst/>
              <a:gdLst>
                <a:gd name="T0" fmla="*/ 2 w 13"/>
                <a:gd name="T1" fmla="*/ 147 h 150"/>
                <a:gd name="T2" fmla="*/ 9 w 13"/>
                <a:gd name="T3" fmla="*/ 150 h 150"/>
                <a:gd name="T4" fmla="*/ 13 w 13"/>
                <a:gd name="T5" fmla="*/ 149 h 150"/>
                <a:gd name="T6" fmla="*/ 9 w 13"/>
                <a:gd name="T7" fmla="*/ 150 h 150"/>
                <a:gd name="T8" fmla="*/ 2 w 13"/>
                <a:gd name="T9" fmla="*/ 147 h 150"/>
                <a:gd name="T10" fmla="*/ 5 w 13"/>
                <a:gd name="T11" fmla="*/ 0 h 150"/>
                <a:gd name="T12" fmla="*/ 0 w 13"/>
                <a:gd name="T13" fmla="*/ 15 h 150"/>
                <a:gd name="T14" fmla="*/ 5 w 13"/>
                <a:gd name="T15" fmla="*/ 0 h 150"/>
                <a:gd name="T16" fmla="*/ 5 w 13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0">
                  <a:moveTo>
                    <a:pt x="2" y="147"/>
                  </a:moveTo>
                  <a:cubicBezTo>
                    <a:pt x="4" y="149"/>
                    <a:pt x="6" y="150"/>
                    <a:pt x="9" y="150"/>
                  </a:cubicBezTo>
                  <a:cubicBezTo>
                    <a:pt x="10" y="150"/>
                    <a:pt x="12" y="150"/>
                    <a:pt x="13" y="149"/>
                  </a:cubicBezTo>
                  <a:cubicBezTo>
                    <a:pt x="12" y="150"/>
                    <a:pt x="10" y="150"/>
                    <a:pt x="9" y="150"/>
                  </a:cubicBezTo>
                  <a:cubicBezTo>
                    <a:pt x="6" y="150"/>
                    <a:pt x="4" y="149"/>
                    <a:pt x="2" y="147"/>
                  </a:cubicBezTo>
                  <a:moveTo>
                    <a:pt x="5" y="0"/>
                  </a:moveTo>
                  <a:cubicBezTo>
                    <a:pt x="2" y="5"/>
                    <a:pt x="0" y="10"/>
                    <a:pt x="0" y="15"/>
                  </a:cubicBezTo>
                  <a:cubicBezTo>
                    <a:pt x="0" y="10"/>
                    <a:pt x="2" y="5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i$ḷ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42117D-20B0-4311-BFCC-80B34A79EC0D}"/>
                </a:ext>
              </a:extLst>
            </p:cNvPr>
            <p:cNvSpPr/>
            <p:nvPr/>
          </p:nvSpPr>
          <p:spPr bwMode="auto">
            <a:xfrm>
              <a:off x="5287963" y="4179888"/>
              <a:ext cx="55563" cy="15875"/>
            </a:xfrm>
            <a:custGeom>
              <a:avLst/>
              <a:gdLst>
                <a:gd name="T0" fmla="*/ 1 w 22"/>
                <a:gd name="T1" fmla="*/ 0 h 6"/>
                <a:gd name="T2" fmla="*/ 0 w 22"/>
                <a:gd name="T3" fmla="*/ 0 h 6"/>
                <a:gd name="T4" fmla="*/ 1 w 22"/>
                <a:gd name="T5" fmla="*/ 0 h 6"/>
                <a:gd name="T6" fmla="*/ 18 w 22"/>
                <a:gd name="T7" fmla="*/ 4 h 6"/>
                <a:gd name="T8" fmla="*/ 22 w 22"/>
                <a:gd name="T9" fmla="*/ 6 h 6"/>
                <a:gd name="T10" fmla="*/ 18 w 22"/>
                <a:gd name="T11" fmla="*/ 4 h 6"/>
                <a:gd name="T12" fmla="*/ 1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13" y="1"/>
                    <a:pt x="18" y="4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3" y="1"/>
                    <a:pt x="7" y="0"/>
                    <a:pt x="1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ïşļ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A653921-CAB3-40FA-93EA-2D3811F5E3C5}"/>
                </a:ext>
              </a:extLst>
            </p:cNvPr>
            <p:cNvSpPr/>
            <p:nvPr/>
          </p:nvSpPr>
          <p:spPr bwMode="auto">
            <a:xfrm>
              <a:off x="4953000" y="4179888"/>
              <a:ext cx="454025" cy="263525"/>
            </a:xfrm>
            <a:custGeom>
              <a:avLst/>
              <a:gdLst>
                <a:gd name="T0" fmla="*/ 133 w 179"/>
                <a:gd name="T1" fmla="*/ 0 h 104"/>
                <a:gd name="T2" fmla="*/ 132 w 179"/>
                <a:gd name="T3" fmla="*/ 0 h 104"/>
                <a:gd name="T4" fmla="*/ 117 w 179"/>
                <a:gd name="T5" fmla="*/ 4 h 104"/>
                <a:gd name="T6" fmla="*/ 11 w 179"/>
                <a:gd name="T7" fmla="*/ 65 h 104"/>
                <a:gd name="T8" fmla="*/ 0 w 179"/>
                <a:gd name="T9" fmla="*/ 77 h 104"/>
                <a:gd name="T10" fmla="*/ 46 w 179"/>
                <a:gd name="T11" fmla="*/ 104 h 104"/>
                <a:gd name="T12" fmla="*/ 57 w 179"/>
                <a:gd name="T13" fmla="*/ 92 h 104"/>
                <a:gd name="T14" fmla="*/ 163 w 179"/>
                <a:gd name="T15" fmla="*/ 30 h 104"/>
                <a:gd name="T16" fmla="*/ 170 w 179"/>
                <a:gd name="T17" fmla="*/ 28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6 h 104"/>
                <a:gd name="T24" fmla="*/ 150 w 179"/>
                <a:gd name="T25" fmla="*/ 4 h 104"/>
                <a:gd name="T26" fmla="*/ 133 w 179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33" y="0"/>
                    <a:pt x="132" y="0"/>
                    <a:pt x="132" y="0"/>
                  </a:cubicBezTo>
                  <a:cubicBezTo>
                    <a:pt x="126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7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4"/>
                    <a:pt x="57" y="92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6" y="29"/>
                    <a:pt x="168" y="28"/>
                    <a:pt x="170" y="28"/>
                  </a:cubicBezTo>
                  <a:cubicBezTo>
                    <a:pt x="175" y="28"/>
                    <a:pt x="178" y="31"/>
                    <a:pt x="179" y="37"/>
                  </a:cubicBezTo>
                  <a:cubicBezTo>
                    <a:pt x="178" y="27"/>
                    <a:pt x="171" y="16"/>
                    <a:pt x="163" y="12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5" y="1"/>
                    <a:pt x="139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6" name="ïṥḻi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103DE74-7034-4D75-A7EA-F5E007E819EA}"/>
                </a:ext>
              </a:extLst>
            </p:cNvPr>
            <p:cNvSpPr/>
            <p:nvPr/>
          </p:nvSpPr>
          <p:spPr bwMode="auto">
            <a:xfrm>
              <a:off x="5070475" y="4251325"/>
              <a:ext cx="336550" cy="192088"/>
            </a:xfrm>
            <a:custGeom>
              <a:avLst/>
              <a:gdLst>
                <a:gd name="T0" fmla="*/ 124 w 133"/>
                <a:gd name="T1" fmla="*/ 0 h 76"/>
                <a:gd name="T2" fmla="*/ 117 w 133"/>
                <a:gd name="T3" fmla="*/ 2 h 76"/>
                <a:gd name="T4" fmla="*/ 11 w 133"/>
                <a:gd name="T5" fmla="*/ 64 h 76"/>
                <a:gd name="T6" fmla="*/ 0 w 133"/>
                <a:gd name="T7" fmla="*/ 76 h 76"/>
                <a:gd name="T8" fmla="*/ 0 w 133"/>
                <a:gd name="T9" fmla="*/ 76 h 76"/>
                <a:gd name="T10" fmla="*/ 11 w 133"/>
                <a:gd name="T11" fmla="*/ 64 h 76"/>
                <a:gd name="T12" fmla="*/ 117 w 133"/>
                <a:gd name="T13" fmla="*/ 3 h 76"/>
                <a:gd name="T14" fmla="*/ 124 w 133"/>
                <a:gd name="T15" fmla="*/ 0 h 76"/>
                <a:gd name="T16" fmla="*/ 133 w 133"/>
                <a:gd name="T17" fmla="*/ 9 h 76"/>
                <a:gd name="T18" fmla="*/ 133 w 133"/>
                <a:gd name="T19" fmla="*/ 9 h 76"/>
                <a:gd name="T20" fmla="*/ 124 w 133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76">
                  <a:moveTo>
                    <a:pt x="124" y="0"/>
                  </a:moveTo>
                  <a:cubicBezTo>
                    <a:pt x="122" y="0"/>
                    <a:pt x="120" y="1"/>
                    <a:pt x="117" y="2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7" y="66"/>
                    <a:pt x="3" y="71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" y="71"/>
                    <a:pt x="7" y="66"/>
                    <a:pt x="11" y="64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20" y="1"/>
                    <a:pt x="122" y="0"/>
                    <a:pt x="124" y="0"/>
                  </a:cubicBezTo>
                  <a:cubicBezTo>
                    <a:pt x="129" y="0"/>
                    <a:pt x="133" y="4"/>
                    <a:pt x="133" y="9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2" y="3"/>
                    <a:pt x="129" y="0"/>
                    <a:pt x="124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ïṩļ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9B045D-5481-412F-8947-3EF186EB973F}"/>
                </a:ext>
              </a:extLst>
            </p:cNvPr>
            <p:cNvSpPr/>
            <p:nvPr/>
          </p:nvSpPr>
          <p:spPr bwMode="auto">
            <a:xfrm>
              <a:off x="5151438" y="4364038"/>
              <a:ext cx="152400" cy="352425"/>
            </a:xfrm>
            <a:custGeom>
              <a:avLst/>
              <a:gdLst>
                <a:gd name="T0" fmla="*/ 9 w 60"/>
                <a:gd name="T1" fmla="*/ 91 h 139"/>
                <a:gd name="T2" fmla="*/ 12 w 60"/>
                <a:gd name="T3" fmla="*/ 88 h 139"/>
                <a:gd name="T4" fmla="*/ 13 w 60"/>
                <a:gd name="T5" fmla="*/ 82 h 139"/>
                <a:gd name="T6" fmla="*/ 12 w 60"/>
                <a:gd name="T7" fmla="*/ 79 h 139"/>
                <a:gd name="T8" fmla="*/ 9 w 60"/>
                <a:gd name="T9" fmla="*/ 67 h 139"/>
                <a:gd name="T10" fmla="*/ 31 w 60"/>
                <a:gd name="T11" fmla="*/ 22 h 139"/>
                <a:gd name="T12" fmla="*/ 49 w 60"/>
                <a:gd name="T13" fmla="*/ 37 h 139"/>
                <a:gd name="T14" fmla="*/ 35 w 60"/>
                <a:gd name="T15" fmla="*/ 82 h 139"/>
                <a:gd name="T16" fmla="*/ 28 w 60"/>
                <a:gd name="T17" fmla="*/ 73 h 139"/>
                <a:gd name="T18" fmla="*/ 32 w 60"/>
                <a:gd name="T19" fmla="*/ 46 h 139"/>
                <a:gd name="T20" fmla="*/ 26 w 60"/>
                <a:gd name="T21" fmla="*/ 39 h 139"/>
                <a:gd name="T22" fmla="*/ 18 w 60"/>
                <a:gd name="T23" fmla="*/ 62 h 139"/>
                <a:gd name="T24" fmla="*/ 19 w 60"/>
                <a:gd name="T25" fmla="*/ 72 h 139"/>
                <a:gd name="T26" fmla="*/ 13 w 60"/>
                <a:gd name="T27" fmla="*/ 113 h 139"/>
                <a:gd name="T28" fmla="*/ 13 w 60"/>
                <a:gd name="T29" fmla="*/ 139 h 139"/>
                <a:gd name="T30" fmla="*/ 14 w 60"/>
                <a:gd name="T31" fmla="*/ 138 h 139"/>
                <a:gd name="T32" fmla="*/ 22 w 60"/>
                <a:gd name="T33" fmla="*/ 111 h 139"/>
                <a:gd name="T34" fmla="*/ 25 w 60"/>
                <a:gd name="T35" fmla="*/ 91 h 139"/>
                <a:gd name="T36" fmla="*/ 36 w 60"/>
                <a:gd name="T37" fmla="*/ 93 h 139"/>
                <a:gd name="T38" fmla="*/ 60 w 60"/>
                <a:gd name="T39" fmla="*/ 32 h 139"/>
                <a:gd name="T40" fmla="*/ 32 w 60"/>
                <a:gd name="T41" fmla="*/ 9 h 139"/>
                <a:gd name="T42" fmla="*/ 0 w 60"/>
                <a:gd name="T43" fmla="*/ 70 h 139"/>
                <a:gd name="T44" fmla="*/ 9 w 60"/>
                <a:gd name="T45" fmla="*/ 9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139">
                  <a:moveTo>
                    <a:pt x="9" y="91"/>
                  </a:moveTo>
                  <a:cubicBezTo>
                    <a:pt x="10" y="91"/>
                    <a:pt x="11" y="90"/>
                    <a:pt x="12" y="88"/>
                  </a:cubicBezTo>
                  <a:cubicBezTo>
                    <a:pt x="12" y="87"/>
                    <a:pt x="12" y="84"/>
                    <a:pt x="13" y="82"/>
                  </a:cubicBezTo>
                  <a:cubicBezTo>
                    <a:pt x="13" y="80"/>
                    <a:pt x="13" y="80"/>
                    <a:pt x="12" y="79"/>
                  </a:cubicBezTo>
                  <a:cubicBezTo>
                    <a:pt x="10" y="77"/>
                    <a:pt x="9" y="73"/>
                    <a:pt x="9" y="67"/>
                  </a:cubicBezTo>
                  <a:cubicBezTo>
                    <a:pt x="9" y="50"/>
                    <a:pt x="17" y="30"/>
                    <a:pt x="31" y="22"/>
                  </a:cubicBezTo>
                  <a:cubicBezTo>
                    <a:pt x="43" y="15"/>
                    <a:pt x="49" y="22"/>
                    <a:pt x="49" y="37"/>
                  </a:cubicBezTo>
                  <a:cubicBezTo>
                    <a:pt x="49" y="57"/>
                    <a:pt x="44" y="77"/>
                    <a:pt x="35" y="82"/>
                  </a:cubicBezTo>
                  <a:cubicBezTo>
                    <a:pt x="31" y="84"/>
                    <a:pt x="27" y="81"/>
                    <a:pt x="28" y="73"/>
                  </a:cubicBezTo>
                  <a:cubicBezTo>
                    <a:pt x="30" y="63"/>
                    <a:pt x="32" y="52"/>
                    <a:pt x="32" y="46"/>
                  </a:cubicBezTo>
                  <a:cubicBezTo>
                    <a:pt x="32" y="41"/>
                    <a:pt x="30" y="37"/>
                    <a:pt x="26" y="39"/>
                  </a:cubicBezTo>
                  <a:cubicBezTo>
                    <a:pt x="21" y="42"/>
                    <a:pt x="18" y="52"/>
                    <a:pt x="18" y="62"/>
                  </a:cubicBezTo>
                  <a:cubicBezTo>
                    <a:pt x="18" y="68"/>
                    <a:pt x="19" y="72"/>
                    <a:pt x="19" y="72"/>
                  </a:cubicBezTo>
                  <a:cubicBezTo>
                    <a:pt x="19" y="72"/>
                    <a:pt x="14" y="107"/>
                    <a:pt x="13" y="113"/>
                  </a:cubicBezTo>
                  <a:cubicBezTo>
                    <a:pt x="12" y="125"/>
                    <a:pt x="13" y="137"/>
                    <a:pt x="13" y="139"/>
                  </a:cubicBezTo>
                  <a:cubicBezTo>
                    <a:pt x="13" y="139"/>
                    <a:pt x="14" y="139"/>
                    <a:pt x="14" y="138"/>
                  </a:cubicBezTo>
                  <a:cubicBezTo>
                    <a:pt x="15" y="137"/>
                    <a:pt x="20" y="123"/>
                    <a:pt x="22" y="111"/>
                  </a:cubicBezTo>
                  <a:cubicBezTo>
                    <a:pt x="23" y="108"/>
                    <a:pt x="25" y="91"/>
                    <a:pt x="25" y="91"/>
                  </a:cubicBezTo>
                  <a:cubicBezTo>
                    <a:pt x="27" y="94"/>
                    <a:pt x="31" y="96"/>
                    <a:pt x="36" y="93"/>
                  </a:cubicBezTo>
                  <a:cubicBezTo>
                    <a:pt x="51" y="85"/>
                    <a:pt x="60" y="59"/>
                    <a:pt x="60" y="32"/>
                  </a:cubicBezTo>
                  <a:cubicBezTo>
                    <a:pt x="60" y="12"/>
                    <a:pt x="49" y="0"/>
                    <a:pt x="32" y="9"/>
                  </a:cubicBezTo>
                  <a:cubicBezTo>
                    <a:pt x="11" y="22"/>
                    <a:pt x="0" y="51"/>
                    <a:pt x="0" y="70"/>
                  </a:cubicBezTo>
                  <a:cubicBezTo>
                    <a:pt x="0" y="82"/>
                    <a:pt x="3" y="91"/>
                    <a:pt x="9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ïṩ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5E2A247-73E5-4026-9035-59C4050DB4E4}"/>
                </a:ext>
              </a:extLst>
            </p:cNvPr>
            <p:cNvSpPr/>
            <p:nvPr/>
          </p:nvSpPr>
          <p:spPr bwMode="auto">
            <a:xfrm>
              <a:off x="4254500" y="3897313"/>
              <a:ext cx="468313" cy="654050"/>
            </a:xfrm>
            <a:custGeom>
              <a:avLst/>
              <a:gdLst>
                <a:gd name="T0" fmla="*/ 17 w 185"/>
                <a:gd name="T1" fmla="*/ 67 h 259"/>
                <a:gd name="T2" fmla="*/ 122 w 185"/>
                <a:gd name="T3" fmla="*/ 5 h 259"/>
                <a:gd name="T4" fmla="*/ 155 w 185"/>
                <a:gd name="T5" fmla="*/ 5 h 259"/>
                <a:gd name="T6" fmla="*/ 169 w 185"/>
                <a:gd name="T7" fmla="*/ 13 h 259"/>
                <a:gd name="T8" fmla="*/ 185 w 185"/>
                <a:gd name="T9" fmla="*/ 42 h 259"/>
                <a:gd name="T10" fmla="*/ 185 w 185"/>
                <a:gd name="T11" fmla="*/ 164 h 259"/>
                <a:gd name="T12" fmla="*/ 169 w 185"/>
                <a:gd name="T13" fmla="*/ 192 h 259"/>
                <a:gd name="T14" fmla="*/ 63 w 185"/>
                <a:gd name="T15" fmla="*/ 253 h 259"/>
                <a:gd name="T16" fmla="*/ 30 w 185"/>
                <a:gd name="T17" fmla="*/ 253 h 259"/>
                <a:gd name="T18" fmla="*/ 17 w 185"/>
                <a:gd name="T19" fmla="*/ 246 h 259"/>
                <a:gd name="T20" fmla="*/ 0 w 185"/>
                <a:gd name="T21" fmla="*/ 217 h 259"/>
                <a:gd name="T22" fmla="*/ 0 w 185"/>
                <a:gd name="T23" fmla="*/ 95 h 259"/>
                <a:gd name="T24" fmla="*/ 17 w 185"/>
                <a:gd name="T25" fmla="*/ 6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9">
                  <a:moveTo>
                    <a:pt x="17" y="67"/>
                  </a:moveTo>
                  <a:cubicBezTo>
                    <a:pt x="122" y="5"/>
                    <a:pt x="122" y="5"/>
                    <a:pt x="122" y="5"/>
                  </a:cubicBezTo>
                  <a:cubicBezTo>
                    <a:pt x="132" y="0"/>
                    <a:pt x="146" y="0"/>
                    <a:pt x="155" y="5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78" y="18"/>
                    <a:pt x="185" y="31"/>
                    <a:pt x="185" y="42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74"/>
                    <a:pt x="178" y="187"/>
                    <a:pt x="169" y="192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54" y="259"/>
                    <a:pt x="39" y="259"/>
                    <a:pt x="30" y="25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8" y="240"/>
                    <a:pt x="0" y="228"/>
                    <a:pt x="0" y="21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4"/>
                    <a:pt x="8" y="72"/>
                    <a:pt x="17" y="6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î$ḻ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98DF2FA-8830-485D-93E7-FC5D36C0EEBE}"/>
                </a:ext>
              </a:extLst>
            </p:cNvPr>
            <p:cNvSpPr/>
            <p:nvPr/>
          </p:nvSpPr>
          <p:spPr bwMode="auto">
            <a:xfrm>
              <a:off x="4254500" y="4445000"/>
              <a:ext cx="115888" cy="101600"/>
            </a:xfrm>
            <a:custGeom>
              <a:avLst/>
              <a:gdLst>
                <a:gd name="T0" fmla="*/ 0 w 46"/>
                <a:gd name="T1" fmla="*/ 0 h 40"/>
                <a:gd name="T2" fmla="*/ 0 w 46"/>
                <a:gd name="T3" fmla="*/ 0 h 40"/>
                <a:gd name="T4" fmla="*/ 17 w 46"/>
                <a:gd name="T5" fmla="*/ 29 h 40"/>
                <a:gd name="T6" fmla="*/ 30 w 46"/>
                <a:gd name="T7" fmla="*/ 36 h 40"/>
                <a:gd name="T8" fmla="*/ 46 w 46"/>
                <a:gd name="T9" fmla="*/ 40 h 40"/>
                <a:gd name="T10" fmla="*/ 30 w 46"/>
                <a:gd name="T11" fmla="*/ 36 h 40"/>
                <a:gd name="T12" fmla="*/ 17 w 46"/>
                <a:gd name="T13" fmla="*/ 29 h 40"/>
                <a:gd name="T14" fmla="*/ 0 w 46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8" y="23"/>
                    <a:pt x="17" y="2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9"/>
                    <a:pt x="40" y="40"/>
                    <a:pt x="46" y="40"/>
                  </a:cubicBezTo>
                  <a:cubicBezTo>
                    <a:pt x="40" y="40"/>
                    <a:pt x="34" y="39"/>
                    <a:pt x="30" y="3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8" y="23"/>
                    <a:pt x="0" y="11"/>
                    <a:pt x="0" y="0"/>
                  </a:cubicBezTo>
                </a:path>
              </a:pathLst>
            </a:custGeom>
            <a:solidFill>
              <a:srgbClr val="DCDC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ïs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9D8409-8DA4-4F00-9B10-BF49DBE2DCFE}"/>
                </a:ext>
              </a:extLst>
            </p:cNvPr>
            <p:cNvSpPr/>
            <p:nvPr/>
          </p:nvSpPr>
          <p:spPr bwMode="auto">
            <a:xfrm>
              <a:off x="4254500" y="4095750"/>
              <a:ext cx="149225" cy="450850"/>
            </a:xfrm>
            <a:custGeom>
              <a:avLst/>
              <a:gdLst>
                <a:gd name="T0" fmla="*/ 5 w 59"/>
                <a:gd name="T1" fmla="*/ 0 h 178"/>
                <a:gd name="T2" fmla="*/ 0 w 59"/>
                <a:gd name="T3" fmla="*/ 16 h 178"/>
                <a:gd name="T4" fmla="*/ 0 w 59"/>
                <a:gd name="T5" fmla="*/ 138 h 178"/>
                <a:gd name="T6" fmla="*/ 17 w 59"/>
                <a:gd name="T7" fmla="*/ 167 h 178"/>
                <a:gd name="T8" fmla="*/ 30 w 59"/>
                <a:gd name="T9" fmla="*/ 174 h 178"/>
                <a:gd name="T10" fmla="*/ 46 w 59"/>
                <a:gd name="T11" fmla="*/ 178 h 178"/>
                <a:gd name="T12" fmla="*/ 46 w 59"/>
                <a:gd name="T13" fmla="*/ 178 h 178"/>
                <a:gd name="T14" fmla="*/ 59 w 59"/>
                <a:gd name="T15" fmla="*/ 176 h 178"/>
                <a:gd name="T16" fmla="*/ 55 w 59"/>
                <a:gd name="T17" fmla="*/ 177 h 178"/>
                <a:gd name="T18" fmla="*/ 46 w 59"/>
                <a:gd name="T19" fmla="*/ 165 h 178"/>
                <a:gd name="T20" fmla="*/ 46 w 59"/>
                <a:gd name="T21" fmla="*/ 43 h 178"/>
                <a:gd name="T22" fmla="*/ 46 w 59"/>
                <a:gd name="T23" fmla="*/ 43 h 178"/>
                <a:gd name="T24" fmla="*/ 46 w 59"/>
                <a:gd name="T25" fmla="*/ 43 h 178"/>
                <a:gd name="T26" fmla="*/ 51 w 59"/>
                <a:gd name="T27" fmla="*/ 26 h 178"/>
                <a:gd name="T28" fmla="*/ 5 w 59"/>
                <a:gd name="T2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78">
                  <a:moveTo>
                    <a:pt x="5" y="0"/>
                  </a:moveTo>
                  <a:cubicBezTo>
                    <a:pt x="2" y="5"/>
                    <a:pt x="0" y="11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9"/>
                    <a:pt x="8" y="161"/>
                    <a:pt x="17" y="167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59" y="176"/>
                  </a:cubicBezTo>
                  <a:cubicBezTo>
                    <a:pt x="58" y="176"/>
                    <a:pt x="57" y="177"/>
                    <a:pt x="55" y="177"/>
                  </a:cubicBezTo>
                  <a:cubicBezTo>
                    <a:pt x="50" y="177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37"/>
                    <a:pt x="48" y="32"/>
                    <a:pt x="51" y="26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C7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ïŝḷ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E62AFEE-CDAD-4A6A-9322-75DB8E4B7635}"/>
                </a:ext>
              </a:extLst>
            </p:cNvPr>
            <p:cNvSpPr/>
            <p:nvPr/>
          </p:nvSpPr>
          <p:spPr bwMode="auto">
            <a:xfrm>
              <a:off x="4370388" y="3965575"/>
              <a:ext cx="352425" cy="585788"/>
            </a:xfrm>
            <a:custGeom>
              <a:avLst/>
              <a:gdLst>
                <a:gd name="T0" fmla="*/ 139 w 139"/>
                <a:gd name="T1" fmla="*/ 15 h 232"/>
                <a:gd name="T2" fmla="*/ 123 w 139"/>
                <a:gd name="T3" fmla="*/ 5 h 232"/>
                <a:gd name="T4" fmla="*/ 17 w 139"/>
                <a:gd name="T5" fmla="*/ 66 h 232"/>
                <a:gd name="T6" fmla="*/ 0 w 139"/>
                <a:gd name="T7" fmla="*/ 95 h 232"/>
                <a:gd name="T8" fmla="*/ 0 w 139"/>
                <a:gd name="T9" fmla="*/ 217 h 232"/>
                <a:gd name="T10" fmla="*/ 17 w 139"/>
                <a:gd name="T11" fmla="*/ 226 h 232"/>
                <a:gd name="T12" fmla="*/ 123 w 139"/>
                <a:gd name="T13" fmla="*/ 165 h 232"/>
                <a:gd name="T14" fmla="*/ 139 w 139"/>
                <a:gd name="T15" fmla="*/ 137 h 232"/>
                <a:gd name="T16" fmla="*/ 139 w 139"/>
                <a:gd name="T17" fmla="*/ 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32">
                  <a:moveTo>
                    <a:pt x="139" y="15"/>
                  </a:moveTo>
                  <a:cubicBezTo>
                    <a:pt x="139" y="4"/>
                    <a:pt x="132" y="0"/>
                    <a:pt x="123" y="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8" y="71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8" y="232"/>
                    <a:pt x="17" y="226"/>
                  </a:cubicBezTo>
                  <a:cubicBezTo>
                    <a:pt x="123" y="165"/>
                    <a:pt x="123" y="165"/>
                    <a:pt x="123" y="165"/>
                  </a:cubicBezTo>
                  <a:cubicBezTo>
                    <a:pt x="132" y="160"/>
                    <a:pt x="139" y="147"/>
                    <a:pt x="139" y="137"/>
                  </a:cubicBezTo>
                  <a:cubicBezTo>
                    <a:pt x="139" y="15"/>
                    <a:pt x="139" y="15"/>
                    <a:pt x="139" y="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2" name="ïsl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96B0CA2-AF52-4C6C-8FE8-F2A65B3945F8}"/>
                </a:ext>
              </a:extLst>
            </p:cNvPr>
            <p:cNvSpPr/>
            <p:nvPr/>
          </p:nvSpPr>
          <p:spPr bwMode="auto">
            <a:xfrm>
              <a:off x="4570413" y="3898900"/>
              <a:ext cx="88900" cy="17463"/>
            </a:xfrm>
            <a:custGeom>
              <a:avLst/>
              <a:gdLst>
                <a:gd name="T0" fmla="*/ 0 w 35"/>
                <a:gd name="T1" fmla="*/ 3 h 7"/>
                <a:gd name="T2" fmla="*/ 0 w 35"/>
                <a:gd name="T3" fmla="*/ 3 h 7"/>
                <a:gd name="T4" fmla="*/ 0 w 35"/>
                <a:gd name="T5" fmla="*/ 3 h 7"/>
                <a:gd name="T6" fmla="*/ 14 w 35"/>
                <a:gd name="T7" fmla="*/ 0 h 7"/>
                <a:gd name="T8" fmla="*/ 0 w 35"/>
                <a:gd name="T9" fmla="*/ 3 h 7"/>
                <a:gd name="T10" fmla="*/ 14 w 35"/>
                <a:gd name="T11" fmla="*/ 0 h 7"/>
                <a:gd name="T12" fmla="*/ 30 w 35"/>
                <a:gd name="T13" fmla="*/ 4 h 7"/>
                <a:gd name="T14" fmla="*/ 35 w 35"/>
                <a:gd name="T15" fmla="*/ 7 h 7"/>
                <a:gd name="T16" fmla="*/ 30 w 35"/>
                <a:gd name="T17" fmla="*/ 4 h 7"/>
                <a:gd name="T18" fmla="*/ 14 w 35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7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4" y="0"/>
                  </a:moveTo>
                  <a:cubicBezTo>
                    <a:pt x="9" y="0"/>
                    <a:pt x="4" y="1"/>
                    <a:pt x="0" y="3"/>
                  </a:cubicBezTo>
                  <a:cubicBezTo>
                    <a:pt x="4" y="1"/>
                    <a:pt x="9" y="0"/>
                    <a:pt x="14" y="0"/>
                  </a:cubicBezTo>
                  <a:cubicBezTo>
                    <a:pt x="20" y="0"/>
                    <a:pt x="26" y="2"/>
                    <a:pt x="30" y="4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6" y="2"/>
                    <a:pt x="20" y="0"/>
                    <a:pt x="14" y="0"/>
                  </a:cubicBezTo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iṩľ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054BA4F-1643-4924-BDF4-E5D259A62DD5}"/>
                </a:ext>
              </a:extLst>
            </p:cNvPr>
            <p:cNvSpPr/>
            <p:nvPr/>
          </p:nvSpPr>
          <p:spPr bwMode="auto">
            <a:xfrm>
              <a:off x="4267200" y="3898900"/>
              <a:ext cx="455613" cy="263525"/>
            </a:xfrm>
            <a:custGeom>
              <a:avLst/>
              <a:gdLst>
                <a:gd name="T0" fmla="*/ 134 w 180"/>
                <a:gd name="T1" fmla="*/ 0 h 104"/>
                <a:gd name="T2" fmla="*/ 120 w 180"/>
                <a:gd name="T3" fmla="*/ 3 h 104"/>
                <a:gd name="T4" fmla="*/ 120 w 180"/>
                <a:gd name="T5" fmla="*/ 3 h 104"/>
                <a:gd name="T6" fmla="*/ 120 w 180"/>
                <a:gd name="T7" fmla="*/ 3 h 104"/>
                <a:gd name="T8" fmla="*/ 117 w 180"/>
                <a:gd name="T9" fmla="*/ 4 h 104"/>
                <a:gd name="T10" fmla="*/ 12 w 180"/>
                <a:gd name="T11" fmla="*/ 66 h 104"/>
                <a:gd name="T12" fmla="*/ 0 w 180"/>
                <a:gd name="T13" fmla="*/ 78 h 104"/>
                <a:gd name="T14" fmla="*/ 46 w 180"/>
                <a:gd name="T15" fmla="*/ 104 h 104"/>
                <a:gd name="T16" fmla="*/ 58 w 180"/>
                <a:gd name="T17" fmla="*/ 92 h 104"/>
                <a:gd name="T18" fmla="*/ 164 w 180"/>
                <a:gd name="T19" fmla="*/ 31 h 104"/>
                <a:gd name="T20" fmla="*/ 171 w 180"/>
                <a:gd name="T21" fmla="*/ 29 h 104"/>
                <a:gd name="T22" fmla="*/ 179 w 180"/>
                <a:gd name="T23" fmla="*/ 35 h 104"/>
                <a:gd name="T24" fmla="*/ 179 w 180"/>
                <a:gd name="T25" fmla="*/ 35 h 104"/>
                <a:gd name="T26" fmla="*/ 179 w 180"/>
                <a:gd name="T27" fmla="*/ 35 h 104"/>
                <a:gd name="T28" fmla="*/ 179 w 180"/>
                <a:gd name="T29" fmla="*/ 35 h 104"/>
                <a:gd name="T30" fmla="*/ 179 w 180"/>
                <a:gd name="T31" fmla="*/ 35 h 104"/>
                <a:gd name="T32" fmla="*/ 179 w 180"/>
                <a:gd name="T33" fmla="*/ 35 h 104"/>
                <a:gd name="T34" fmla="*/ 179 w 180"/>
                <a:gd name="T35" fmla="*/ 35 h 104"/>
                <a:gd name="T36" fmla="*/ 179 w 180"/>
                <a:gd name="T37" fmla="*/ 35 h 104"/>
                <a:gd name="T38" fmla="*/ 179 w 180"/>
                <a:gd name="T39" fmla="*/ 35 h 104"/>
                <a:gd name="T40" fmla="*/ 179 w 180"/>
                <a:gd name="T41" fmla="*/ 35 h 104"/>
                <a:gd name="T42" fmla="*/ 180 w 180"/>
                <a:gd name="T43" fmla="*/ 38 h 104"/>
                <a:gd name="T44" fmla="*/ 164 w 180"/>
                <a:gd name="T45" fmla="*/ 12 h 104"/>
                <a:gd name="T46" fmla="*/ 155 w 180"/>
                <a:gd name="T47" fmla="*/ 7 h 104"/>
                <a:gd name="T48" fmla="*/ 150 w 180"/>
                <a:gd name="T49" fmla="*/ 4 h 104"/>
                <a:gd name="T50" fmla="*/ 134 w 180"/>
                <a:gd name="T5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" h="104">
                  <a:moveTo>
                    <a:pt x="134" y="0"/>
                  </a:moveTo>
                  <a:cubicBezTo>
                    <a:pt x="129" y="0"/>
                    <a:pt x="124" y="1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8" y="4"/>
                    <a:pt x="117" y="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" y="68"/>
                    <a:pt x="3" y="73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8" y="92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6" y="30"/>
                    <a:pt x="169" y="29"/>
                    <a:pt x="171" y="29"/>
                  </a:cubicBezTo>
                  <a:cubicBezTo>
                    <a:pt x="175" y="29"/>
                    <a:pt x="178" y="31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80" y="36"/>
                    <a:pt x="180" y="37"/>
                    <a:pt x="180" y="38"/>
                  </a:cubicBezTo>
                  <a:cubicBezTo>
                    <a:pt x="179" y="28"/>
                    <a:pt x="172" y="17"/>
                    <a:pt x="164" y="12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0" y="0"/>
                    <a:pt x="134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4" name="iṩļ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E6BB49-4B52-407D-8A0C-57E4826F6293}"/>
                </a:ext>
              </a:extLst>
            </p:cNvPr>
            <p:cNvSpPr/>
            <p:nvPr/>
          </p:nvSpPr>
          <p:spPr bwMode="auto">
            <a:xfrm>
              <a:off x="4721225" y="39878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DEB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îṥ1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2D4004-1A7D-4E1C-8F45-24EE732FBA19}"/>
                </a:ext>
              </a:extLst>
            </p:cNvPr>
            <p:cNvSpPr/>
            <p:nvPr/>
          </p:nvSpPr>
          <p:spPr bwMode="auto">
            <a:xfrm>
              <a:off x="4445000" y="4089400"/>
              <a:ext cx="204788" cy="334963"/>
            </a:xfrm>
            <a:custGeom>
              <a:avLst/>
              <a:gdLst>
                <a:gd name="T0" fmla="*/ 41 w 81"/>
                <a:gd name="T1" fmla="*/ 22 h 133"/>
                <a:gd name="T2" fmla="*/ 57 w 81"/>
                <a:gd name="T3" fmla="*/ 13 h 133"/>
                <a:gd name="T4" fmla="*/ 65 w 81"/>
                <a:gd name="T5" fmla="*/ 11 h 133"/>
                <a:gd name="T6" fmla="*/ 69 w 81"/>
                <a:gd name="T7" fmla="*/ 12 h 133"/>
                <a:gd name="T8" fmla="*/ 72 w 81"/>
                <a:gd name="T9" fmla="*/ 17 h 133"/>
                <a:gd name="T10" fmla="*/ 74 w 81"/>
                <a:gd name="T11" fmla="*/ 26 h 133"/>
                <a:gd name="T12" fmla="*/ 74 w 81"/>
                <a:gd name="T13" fmla="*/ 48 h 133"/>
                <a:gd name="T14" fmla="*/ 74 w 81"/>
                <a:gd name="T15" fmla="*/ 70 h 133"/>
                <a:gd name="T16" fmla="*/ 72 w 81"/>
                <a:gd name="T17" fmla="*/ 80 h 133"/>
                <a:gd name="T18" fmla="*/ 69 w 81"/>
                <a:gd name="T19" fmla="*/ 88 h 133"/>
                <a:gd name="T20" fmla="*/ 65 w 81"/>
                <a:gd name="T21" fmla="*/ 95 h 133"/>
                <a:gd name="T22" fmla="*/ 57 w 81"/>
                <a:gd name="T23" fmla="*/ 101 h 133"/>
                <a:gd name="T24" fmla="*/ 41 w 81"/>
                <a:gd name="T25" fmla="*/ 111 h 133"/>
                <a:gd name="T26" fmla="*/ 24 w 81"/>
                <a:gd name="T27" fmla="*/ 120 h 133"/>
                <a:gd name="T28" fmla="*/ 17 w 81"/>
                <a:gd name="T29" fmla="*/ 123 h 133"/>
                <a:gd name="T30" fmla="*/ 12 w 81"/>
                <a:gd name="T31" fmla="*/ 121 h 133"/>
                <a:gd name="T32" fmla="*/ 9 w 81"/>
                <a:gd name="T33" fmla="*/ 117 h 133"/>
                <a:gd name="T34" fmla="*/ 8 w 81"/>
                <a:gd name="T35" fmla="*/ 108 h 133"/>
                <a:gd name="T36" fmla="*/ 7 w 81"/>
                <a:gd name="T37" fmla="*/ 86 h 133"/>
                <a:gd name="T38" fmla="*/ 8 w 81"/>
                <a:gd name="T39" fmla="*/ 64 h 133"/>
                <a:gd name="T40" fmla="*/ 9 w 81"/>
                <a:gd name="T41" fmla="*/ 53 h 133"/>
                <a:gd name="T42" fmla="*/ 12 w 81"/>
                <a:gd name="T43" fmla="*/ 45 h 133"/>
                <a:gd name="T44" fmla="*/ 17 w 81"/>
                <a:gd name="T45" fmla="*/ 38 h 133"/>
                <a:gd name="T46" fmla="*/ 24 w 81"/>
                <a:gd name="T47" fmla="*/ 32 h 133"/>
                <a:gd name="T48" fmla="*/ 41 w 81"/>
                <a:gd name="T49" fmla="*/ 22 h 133"/>
                <a:gd name="T50" fmla="*/ 41 w 81"/>
                <a:gd name="T51" fmla="*/ 13 h 133"/>
                <a:gd name="T52" fmla="*/ 24 w 81"/>
                <a:gd name="T53" fmla="*/ 23 h 133"/>
                <a:gd name="T54" fmla="*/ 14 w 81"/>
                <a:gd name="T55" fmla="*/ 31 h 133"/>
                <a:gd name="T56" fmla="*/ 7 w 81"/>
                <a:gd name="T57" fmla="*/ 41 h 133"/>
                <a:gd name="T58" fmla="*/ 2 w 81"/>
                <a:gd name="T59" fmla="*/ 53 h 133"/>
                <a:gd name="T60" fmla="*/ 0 w 81"/>
                <a:gd name="T61" fmla="*/ 68 h 133"/>
                <a:gd name="T62" fmla="*/ 0 w 81"/>
                <a:gd name="T63" fmla="*/ 90 h 133"/>
                <a:gd name="T64" fmla="*/ 0 w 81"/>
                <a:gd name="T65" fmla="*/ 112 h 133"/>
                <a:gd name="T66" fmla="*/ 2 w 81"/>
                <a:gd name="T67" fmla="*/ 124 h 133"/>
                <a:gd name="T68" fmla="*/ 7 w 81"/>
                <a:gd name="T69" fmla="*/ 131 h 133"/>
                <a:gd name="T70" fmla="*/ 14 w 81"/>
                <a:gd name="T71" fmla="*/ 133 h 133"/>
                <a:gd name="T72" fmla="*/ 24 w 81"/>
                <a:gd name="T73" fmla="*/ 130 h 133"/>
                <a:gd name="T74" fmla="*/ 41 w 81"/>
                <a:gd name="T75" fmla="*/ 121 h 133"/>
                <a:gd name="T76" fmla="*/ 57 w 81"/>
                <a:gd name="T77" fmla="*/ 111 h 133"/>
                <a:gd name="T78" fmla="*/ 67 w 81"/>
                <a:gd name="T79" fmla="*/ 103 h 133"/>
                <a:gd name="T80" fmla="*/ 74 w 81"/>
                <a:gd name="T81" fmla="*/ 92 h 133"/>
                <a:gd name="T82" fmla="*/ 79 w 81"/>
                <a:gd name="T83" fmla="*/ 80 h 133"/>
                <a:gd name="T84" fmla="*/ 81 w 81"/>
                <a:gd name="T85" fmla="*/ 66 h 133"/>
                <a:gd name="T86" fmla="*/ 81 w 81"/>
                <a:gd name="T87" fmla="*/ 43 h 133"/>
                <a:gd name="T88" fmla="*/ 81 w 81"/>
                <a:gd name="T89" fmla="*/ 21 h 133"/>
                <a:gd name="T90" fmla="*/ 79 w 81"/>
                <a:gd name="T91" fmla="*/ 9 h 133"/>
                <a:gd name="T92" fmla="*/ 74 w 81"/>
                <a:gd name="T93" fmla="*/ 2 h 133"/>
                <a:gd name="T94" fmla="*/ 67 w 81"/>
                <a:gd name="T95" fmla="*/ 0 h 133"/>
                <a:gd name="T96" fmla="*/ 57 w 81"/>
                <a:gd name="T97" fmla="*/ 3 h 133"/>
                <a:gd name="T98" fmla="*/ 41 w 81"/>
                <a:gd name="T99" fmla="*/ 1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" h="133">
                  <a:moveTo>
                    <a:pt x="41" y="22"/>
                  </a:moveTo>
                  <a:cubicBezTo>
                    <a:pt x="52" y="16"/>
                    <a:pt x="53" y="15"/>
                    <a:pt x="57" y="13"/>
                  </a:cubicBezTo>
                  <a:cubicBezTo>
                    <a:pt x="61" y="11"/>
                    <a:pt x="63" y="11"/>
                    <a:pt x="65" y="11"/>
                  </a:cubicBezTo>
                  <a:cubicBezTo>
                    <a:pt x="67" y="11"/>
                    <a:pt x="68" y="11"/>
                    <a:pt x="69" y="12"/>
                  </a:cubicBezTo>
                  <a:cubicBezTo>
                    <a:pt x="71" y="13"/>
                    <a:pt x="72" y="14"/>
                    <a:pt x="72" y="17"/>
                  </a:cubicBezTo>
                  <a:cubicBezTo>
                    <a:pt x="73" y="18"/>
                    <a:pt x="74" y="21"/>
                    <a:pt x="74" y="26"/>
                  </a:cubicBezTo>
                  <a:cubicBezTo>
                    <a:pt x="74" y="31"/>
                    <a:pt x="74" y="33"/>
                    <a:pt x="74" y="48"/>
                  </a:cubicBezTo>
                  <a:cubicBezTo>
                    <a:pt x="74" y="62"/>
                    <a:pt x="74" y="64"/>
                    <a:pt x="74" y="70"/>
                  </a:cubicBezTo>
                  <a:cubicBezTo>
                    <a:pt x="74" y="75"/>
                    <a:pt x="73" y="78"/>
                    <a:pt x="72" y="80"/>
                  </a:cubicBezTo>
                  <a:cubicBezTo>
                    <a:pt x="72" y="83"/>
                    <a:pt x="71" y="86"/>
                    <a:pt x="69" y="88"/>
                  </a:cubicBezTo>
                  <a:cubicBezTo>
                    <a:pt x="68" y="91"/>
                    <a:pt x="67" y="93"/>
                    <a:pt x="65" y="95"/>
                  </a:cubicBezTo>
                  <a:cubicBezTo>
                    <a:pt x="63" y="97"/>
                    <a:pt x="61" y="99"/>
                    <a:pt x="57" y="101"/>
                  </a:cubicBezTo>
                  <a:cubicBezTo>
                    <a:pt x="53" y="104"/>
                    <a:pt x="52" y="105"/>
                    <a:pt x="41" y="111"/>
                  </a:cubicBezTo>
                  <a:cubicBezTo>
                    <a:pt x="30" y="117"/>
                    <a:pt x="29" y="118"/>
                    <a:pt x="24" y="120"/>
                  </a:cubicBezTo>
                  <a:cubicBezTo>
                    <a:pt x="20" y="122"/>
                    <a:pt x="18" y="123"/>
                    <a:pt x="17" y="123"/>
                  </a:cubicBezTo>
                  <a:cubicBezTo>
                    <a:pt x="15" y="123"/>
                    <a:pt x="14" y="122"/>
                    <a:pt x="12" y="121"/>
                  </a:cubicBezTo>
                  <a:cubicBezTo>
                    <a:pt x="11" y="120"/>
                    <a:pt x="10" y="119"/>
                    <a:pt x="9" y="117"/>
                  </a:cubicBezTo>
                  <a:cubicBezTo>
                    <a:pt x="9" y="115"/>
                    <a:pt x="8" y="113"/>
                    <a:pt x="8" y="108"/>
                  </a:cubicBezTo>
                  <a:cubicBezTo>
                    <a:pt x="8" y="102"/>
                    <a:pt x="7" y="100"/>
                    <a:pt x="7" y="86"/>
                  </a:cubicBezTo>
                  <a:cubicBezTo>
                    <a:pt x="7" y="71"/>
                    <a:pt x="8" y="70"/>
                    <a:pt x="8" y="64"/>
                  </a:cubicBezTo>
                  <a:cubicBezTo>
                    <a:pt x="8" y="59"/>
                    <a:pt x="9" y="55"/>
                    <a:pt x="9" y="53"/>
                  </a:cubicBezTo>
                  <a:cubicBezTo>
                    <a:pt x="10" y="50"/>
                    <a:pt x="11" y="48"/>
                    <a:pt x="12" y="45"/>
                  </a:cubicBezTo>
                  <a:cubicBezTo>
                    <a:pt x="14" y="42"/>
                    <a:pt x="15" y="40"/>
                    <a:pt x="17" y="38"/>
                  </a:cubicBezTo>
                  <a:cubicBezTo>
                    <a:pt x="18" y="37"/>
                    <a:pt x="20" y="35"/>
                    <a:pt x="24" y="32"/>
                  </a:cubicBezTo>
                  <a:cubicBezTo>
                    <a:pt x="29" y="29"/>
                    <a:pt x="30" y="29"/>
                    <a:pt x="41" y="22"/>
                  </a:cubicBezTo>
                  <a:moveTo>
                    <a:pt x="41" y="13"/>
                  </a:moveTo>
                  <a:cubicBezTo>
                    <a:pt x="30" y="19"/>
                    <a:pt x="28" y="20"/>
                    <a:pt x="24" y="23"/>
                  </a:cubicBezTo>
                  <a:cubicBezTo>
                    <a:pt x="20" y="25"/>
                    <a:pt x="17" y="28"/>
                    <a:pt x="14" y="31"/>
                  </a:cubicBezTo>
                  <a:cubicBezTo>
                    <a:pt x="12" y="34"/>
                    <a:pt x="9" y="37"/>
                    <a:pt x="7" y="41"/>
                  </a:cubicBezTo>
                  <a:cubicBezTo>
                    <a:pt x="5" y="46"/>
                    <a:pt x="3" y="49"/>
                    <a:pt x="2" y="53"/>
                  </a:cubicBezTo>
                  <a:cubicBezTo>
                    <a:pt x="1" y="58"/>
                    <a:pt x="1" y="62"/>
                    <a:pt x="0" y="68"/>
                  </a:cubicBezTo>
                  <a:cubicBezTo>
                    <a:pt x="0" y="74"/>
                    <a:pt x="0" y="75"/>
                    <a:pt x="0" y="90"/>
                  </a:cubicBezTo>
                  <a:cubicBezTo>
                    <a:pt x="0" y="105"/>
                    <a:pt x="0" y="107"/>
                    <a:pt x="0" y="112"/>
                  </a:cubicBezTo>
                  <a:cubicBezTo>
                    <a:pt x="1" y="118"/>
                    <a:pt x="1" y="121"/>
                    <a:pt x="2" y="124"/>
                  </a:cubicBezTo>
                  <a:cubicBezTo>
                    <a:pt x="3" y="127"/>
                    <a:pt x="5" y="129"/>
                    <a:pt x="7" y="131"/>
                  </a:cubicBezTo>
                  <a:cubicBezTo>
                    <a:pt x="9" y="133"/>
                    <a:pt x="12" y="133"/>
                    <a:pt x="14" y="133"/>
                  </a:cubicBezTo>
                  <a:cubicBezTo>
                    <a:pt x="17" y="133"/>
                    <a:pt x="20" y="132"/>
                    <a:pt x="24" y="130"/>
                  </a:cubicBezTo>
                  <a:cubicBezTo>
                    <a:pt x="28" y="128"/>
                    <a:pt x="30" y="127"/>
                    <a:pt x="41" y="121"/>
                  </a:cubicBezTo>
                  <a:cubicBezTo>
                    <a:pt x="52" y="114"/>
                    <a:pt x="53" y="114"/>
                    <a:pt x="57" y="111"/>
                  </a:cubicBezTo>
                  <a:cubicBezTo>
                    <a:pt x="62" y="108"/>
                    <a:pt x="65" y="105"/>
                    <a:pt x="67" y="103"/>
                  </a:cubicBezTo>
                  <a:cubicBezTo>
                    <a:pt x="70" y="100"/>
                    <a:pt x="72" y="97"/>
                    <a:pt x="74" y="92"/>
                  </a:cubicBezTo>
                  <a:cubicBezTo>
                    <a:pt x="77" y="88"/>
                    <a:pt x="78" y="84"/>
                    <a:pt x="79" y="80"/>
                  </a:cubicBezTo>
                  <a:cubicBezTo>
                    <a:pt x="80" y="76"/>
                    <a:pt x="81" y="72"/>
                    <a:pt x="81" y="66"/>
                  </a:cubicBezTo>
                  <a:cubicBezTo>
                    <a:pt x="81" y="60"/>
                    <a:pt x="81" y="58"/>
                    <a:pt x="81" y="43"/>
                  </a:cubicBezTo>
                  <a:cubicBezTo>
                    <a:pt x="81" y="29"/>
                    <a:pt x="81" y="27"/>
                    <a:pt x="81" y="21"/>
                  </a:cubicBezTo>
                  <a:cubicBezTo>
                    <a:pt x="81" y="16"/>
                    <a:pt x="80" y="12"/>
                    <a:pt x="79" y="9"/>
                  </a:cubicBezTo>
                  <a:cubicBezTo>
                    <a:pt x="78" y="6"/>
                    <a:pt x="77" y="4"/>
                    <a:pt x="74" y="2"/>
                  </a:cubicBezTo>
                  <a:cubicBezTo>
                    <a:pt x="72" y="1"/>
                    <a:pt x="70" y="0"/>
                    <a:pt x="67" y="0"/>
                  </a:cubicBezTo>
                  <a:cubicBezTo>
                    <a:pt x="65" y="0"/>
                    <a:pt x="62" y="1"/>
                    <a:pt x="57" y="3"/>
                  </a:cubicBezTo>
                  <a:cubicBezTo>
                    <a:pt x="53" y="6"/>
                    <a:pt x="52" y="6"/>
                    <a:pt x="41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6" name="íśḷ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1C8C6AF-94A8-4150-8EB4-B00B6C6AE0EC}"/>
                </a:ext>
              </a:extLst>
            </p:cNvPr>
            <p:cNvSpPr/>
            <p:nvPr/>
          </p:nvSpPr>
          <p:spPr bwMode="auto">
            <a:xfrm>
              <a:off x="4495800" y="4170363"/>
              <a:ext cx="106363" cy="173038"/>
            </a:xfrm>
            <a:custGeom>
              <a:avLst/>
              <a:gdLst>
                <a:gd name="T0" fmla="*/ 21 w 42"/>
                <a:gd name="T1" fmla="*/ 7 h 69"/>
                <a:gd name="T2" fmla="*/ 0 w 42"/>
                <a:gd name="T3" fmla="*/ 47 h 69"/>
                <a:gd name="T4" fmla="*/ 21 w 42"/>
                <a:gd name="T5" fmla="*/ 62 h 69"/>
                <a:gd name="T6" fmla="*/ 42 w 42"/>
                <a:gd name="T7" fmla="*/ 23 h 69"/>
                <a:gd name="T8" fmla="*/ 21 w 42"/>
                <a:gd name="T9" fmla="*/ 7 h 69"/>
                <a:gd name="T10" fmla="*/ 21 w 42"/>
                <a:gd name="T11" fmla="*/ 53 h 69"/>
                <a:gd name="T12" fmla="*/ 7 w 42"/>
                <a:gd name="T13" fmla="*/ 43 h 69"/>
                <a:gd name="T14" fmla="*/ 21 w 42"/>
                <a:gd name="T15" fmla="*/ 17 h 69"/>
                <a:gd name="T16" fmla="*/ 34 w 42"/>
                <a:gd name="T17" fmla="*/ 27 h 69"/>
                <a:gd name="T18" fmla="*/ 21 w 42"/>
                <a:gd name="T19" fmla="*/ 5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69">
                  <a:moveTo>
                    <a:pt x="21" y="7"/>
                  </a:moveTo>
                  <a:cubicBezTo>
                    <a:pt x="9" y="14"/>
                    <a:pt x="0" y="31"/>
                    <a:pt x="0" y="47"/>
                  </a:cubicBezTo>
                  <a:cubicBezTo>
                    <a:pt x="0" y="62"/>
                    <a:pt x="9" y="69"/>
                    <a:pt x="21" y="62"/>
                  </a:cubicBezTo>
                  <a:cubicBezTo>
                    <a:pt x="32" y="56"/>
                    <a:pt x="42" y="38"/>
                    <a:pt x="42" y="23"/>
                  </a:cubicBezTo>
                  <a:cubicBezTo>
                    <a:pt x="42" y="7"/>
                    <a:pt x="32" y="0"/>
                    <a:pt x="21" y="7"/>
                  </a:cubicBezTo>
                  <a:moveTo>
                    <a:pt x="21" y="53"/>
                  </a:moveTo>
                  <a:cubicBezTo>
                    <a:pt x="13" y="57"/>
                    <a:pt x="7" y="52"/>
                    <a:pt x="7" y="43"/>
                  </a:cubicBezTo>
                  <a:cubicBezTo>
                    <a:pt x="7" y="33"/>
                    <a:pt x="13" y="21"/>
                    <a:pt x="21" y="17"/>
                  </a:cubicBezTo>
                  <a:cubicBezTo>
                    <a:pt x="28" y="12"/>
                    <a:pt x="34" y="17"/>
                    <a:pt x="34" y="27"/>
                  </a:cubicBezTo>
                  <a:cubicBezTo>
                    <a:pt x="34" y="37"/>
                    <a:pt x="28" y="48"/>
                    <a:pt x="21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îş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F697F8F-908B-4A94-9403-FE281D79DFE7}"/>
                </a:ext>
              </a:extLst>
            </p:cNvPr>
            <p:cNvSpPr/>
            <p:nvPr/>
          </p:nvSpPr>
          <p:spPr bwMode="auto">
            <a:xfrm>
              <a:off x="4591050" y="4132263"/>
              <a:ext cx="23813" cy="39688"/>
            </a:xfrm>
            <a:custGeom>
              <a:avLst/>
              <a:gdLst>
                <a:gd name="T0" fmla="*/ 9 w 9"/>
                <a:gd name="T1" fmla="*/ 6 h 16"/>
                <a:gd name="T2" fmla="*/ 4 w 9"/>
                <a:gd name="T3" fmla="*/ 15 h 16"/>
                <a:gd name="T4" fmla="*/ 0 w 9"/>
                <a:gd name="T5" fmla="*/ 11 h 16"/>
                <a:gd name="T6" fmla="*/ 4 w 9"/>
                <a:gd name="T7" fmla="*/ 2 h 16"/>
                <a:gd name="T8" fmla="*/ 9 w 9"/>
                <a:gd name="T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9" y="6"/>
                  </a:moveTo>
                  <a:cubicBezTo>
                    <a:pt x="9" y="9"/>
                    <a:pt x="7" y="13"/>
                    <a:pt x="4" y="15"/>
                  </a:cubicBezTo>
                  <a:cubicBezTo>
                    <a:pt x="2" y="16"/>
                    <a:pt x="0" y="15"/>
                    <a:pt x="0" y="11"/>
                  </a:cubicBezTo>
                  <a:cubicBezTo>
                    <a:pt x="0" y="8"/>
                    <a:pt x="2" y="3"/>
                    <a:pt x="4" y="2"/>
                  </a:cubicBezTo>
                  <a:cubicBezTo>
                    <a:pt x="7" y="0"/>
                    <a:pt x="9" y="2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işļî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74AEDAA-65EA-4D35-A61E-EA8F653FAD81}"/>
                </a:ext>
              </a:extLst>
            </p:cNvPr>
            <p:cNvSpPr/>
            <p:nvPr/>
          </p:nvSpPr>
          <p:spPr bwMode="auto">
            <a:xfrm>
              <a:off x="4940300" y="3254375"/>
              <a:ext cx="469900" cy="652463"/>
            </a:xfrm>
            <a:custGeom>
              <a:avLst/>
              <a:gdLst>
                <a:gd name="T0" fmla="*/ 185 w 185"/>
                <a:gd name="T1" fmla="*/ 41 h 258"/>
                <a:gd name="T2" fmla="*/ 168 w 185"/>
                <a:gd name="T3" fmla="*/ 13 h 258"/>
                <a:gd name="T4" fmla="*/ 155 w 185"/>
                <a:gd name="T5" fmla="*/ 5 h 258"/>
                <a:gd name="T6" fmla="*/ 122 w 185"/>
                <a:gd name="T7" fmla="*/ 5 h 258"/>
                <a:gd name="T8" fmla="*/ 16 w 185"/>
                <a:gd name="T9" fmla="*/ 66 h 258"/>
                <a:gd name="T10" fmla="*/ 0 w 185"/>
                <a:gd name="T11" fmla="*/ 95 h 258"/>
                <a:gd name="T12" fmla="*/ 0 w 185"/>
                <a:gd name="T13" fmla="*/ 217 h 258"/>
                <a:gd name="T14" fmla="*/ 16 w 185"/>
                <a:gd name="T15" fmla="*/ 245 h 258"/>
                <a:gd name="T16" fmla="*/ 29 w 185"/>
                <a:gd name="T17" fmla="*/ 253 h 258"/>
                <a:gd name="T18" fmla="*/ 62 w 185"/>
                <a:gd name="T19" fmla="*/ 253 h 258"/>
                <a:gd name="T20" fmla="*/ 168 w 185"/>
                <a:gd name="T21" fmla="*/ 192 h 258"/>
                <a:gd name="T22" fmla="*/ 185 w 185"/>
                <a:gd name="T23" fmla="*/ 164 h 258"/>
                <a:gd name="T24" fmla="*/ 185 w 185"/>
                <a:gd name="T25" fmla="*/ 4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58">
                  <a:moveTo>
                    <a:pt x="185" y="41"/>
                  </a:moveTo>
                  <a:cubicBezTo>
                    <a:pt x="185" y="31"/>
                    <a:pt x="177" y="18"/>
                    <a:pt x="168" y="13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46" y="0"/>
                    <a:pt x="131" y="0"/>
                    <a:pt x="122" y="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7" y="72"/>
                    <a:pt x="0" y="84"/>
                    <a:pt x="0" y="9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7"/>
                    <a:pt x="7" y="240"/>
                    <a:pt x="16" y="245"/>
                  </a:cubicBezTo>
                  <a:cubicBezTo>
                    <a:pt x="29" y="253"/>
                    <a:pt x="29" y="253"/>
                    <a:pt x="29" y="253"/>
                  </a:cubicBezTo>
                  <a:cubicBezTo>
                    <a:pt x="39" y="258"/>
                    <a:pt x="53" y="258"/>
                    <a:pt x="62" y="253"/>
                  </a:cubicBezTo>
                  <a:cubicBezTo>
                    <a:pt x="168" y="192"/>
                    <a:pt x="168" y="192"/>
                    <a:pt x="168" y="192"/>
                  </a:cubicBezTo>
                  <a:cubicBezTo>
                    <a:pt x="177" y="187"/>
                    <a:pt x="185" y="174"/>
                    <a:pt x="185" y="164"/>
                  </a:cubicBezTo>
                  <a:cubicBezTo>
                    <a:pt x="185" y="41"/>
                    <a:pt x="185" y="41"/>
                    <a:pt x="185" y="41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iṩl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BA04F44-B0F9-4013-81CA-D9CC1EF85BE4}"/>
                </a:ext>
              </a:extLst>
            </p:cNvPr>
            <p:cNvSpPr/>
            <p:nvPr/>
          </p:nvSpPr>
          <p:spPr bwMode="auto">
            <a:xfrm>
              <a:off x="4940300" y="3481388"/>
              <a:ext cx="117475" cy="422275"/>
            </a:xfrm>
            <a:custGeom>
              <a:avLst/>
              <a:gdLst>
                <a:gd name="T0" fmla="*/ 0 w 46"/>
                <a:gd name="T1" fmla="*/ 0 h 167"/>
                <a:gd name="T2" fmla="*/ 0 w 46"/>
                <a:gd name="T3" fmla="*/ 5 h 167"/>
                <a:gd name="T4" fmla="*/ 0 w 46"/>
                <a:gd name="T5" fmla="*/ 127 h 167"/>
                <a:gd name="T6" fmla="*/ 16 w 46"/>
                <a:gd name="T7" fmla="*/ 155 h 167"/>
                <a:gd name="T8" fmla="*/ 29 w 46"/>
                <a:gd name="T9" fmla="*/ 163 h 167"/>
                <a:gd name="T10" fmla="*/ 46 w 46"/>
                <a:gd name="T11" fmla="*/ 167 h 167"/>
                <a:gd name="T12" fmla="*/ 46 w 46"/>
                <a:gd name="T13" fmla="*/ 167 h 167"/>
                <a:gd name="T14" fmla="*/ 46 w 46"/>
                <a:gd name="T15" fmla="*/ 167 h 167"/>
                <a:gd name="T16" fmla="*/ 29 w 46"/>
                <a:gd name="T17" fmla="*/ 163 h 167"/>
                <a:gd name="T18" fmla="*/ 16 w 46"/>
                <a:gd name="T19" fmla="*/ 155 h 167"/>
                <a:gd name="T20" fmla="*/ 0 w 46"/>
                <a:gd name="T21" fmla="*/ 127 h 167"/>
                <a:gd name="T22" fmla="*/ 0 w 46"/>
                <a:gd name="T23" fmla="*/ 5 h 167"/>
                <a:gd name="T24" fmla="*/ 0 w 46"/>
                <a:gd name="T25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167">
                  <a:moveTo>
                    <a:pt x="0" y="0"/>
                  </a:moveTo>
                  <a:cubicBezTo>
                    <a:pt x="0" y="2"/>
                    <a:pt x="0" y="3"/>
                    <a:pt x="0" y="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7"/>
                    <a:pt x="7" y="150"/>
                    <a:pt x="16" y="155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4" y="166"/>
                    <a:pt x="40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40" y="167"/>
                    <a:pt x="34" y="166"/>
                    <a:pt x="29" y="163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7" y="150"/>
                    <a:pt x="0" y="137"/>
                    <a:pt x="0" y="1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iṥḷ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265AB7-1285-45CD-AF23-6BCD52A22AA4}"/>
                </a:ext>
              </a:extLst>
            </p:cNvPr>
            <p:cNvSpPr/>
            <p:nvPr/>
          </p:nvSpPr>
          <p:spPr bwMode="auto">
            <a:xfrm>
              <a:off x="4940300" y="3454400"/>
              <a:ext cx="152400" cy="449263"/>
            </a:xfrm>
            <a:custGeom>
              <a:avLst/>
              <a:gdLst>
                <a:gd name="T0" fmla="*/ 4 w 60"/>
                <a:gd name="T1" fmla="*/ 0 h 178"/>
                <a:gd name="T2" fmla="*/ 0 w 60"/>
                <a:gd name="T3" fmla="*/ 11 h 178"/>
                <a:gd name="T4" fmla="*/ 0 w 60"/>
                <a:gd name="T5" fmla="*/ 16 h 178"/>
                <a:gd name="T6" fmla="*/ 0 w 60"/>
                <a:gd name="T7" fmla="*/ 138 h 178"/>
                <a:gd name="T8" fmla="*/ 16 w 60"/>
                <a:gd name="T9" fmla="*/ 166 h 178"/>
                <a:gd name="T10" fmla="*/ 29 w 60"/>
                <a:gd name="T11" fmla="*/ 174 h 178"/>
                <a:gd name="T12" fmla="*/ 46 w 60"/>
                <a:gd name="T13" fmla="*/ 178 h 178"/>
                <a:gd name="T14" fmla="*/ 46 w 60"/>
                <a:gd name="T15" fmla="*/ 178 h 178"/>
                <a:gd name="T16" fmla="*/ 60 w 60"/>
                <a:gd name="T17" fmla="*/ 176 h 178"/>
                <a:gd name="T18" fmla="*/ 58 w 60"/>
                <a:gd name="T19" fmla="*/ 176 h 178"/>
                <a:gd name="T20" fmla="*/ 58 w 60"/>
                <a:gd name="T21" fmla="*/ 176 h 178"/>
                <a:gd name="T22" fmla="*/ 58 w 60"/>
                <a:gd name="T23" fmla="*/ 176 h 178"/>
                <a:gd name="T24" fmla="*/ 58 w 60"/>
                <a:gd name="T25" fmla="*/ 176 h 178"/>
                <a:gd name="T26" fmla="*/ 58 w 60"/>
                <a:gd name="T27" fmla="*/ 176 h 178"/>
                <a:gd name="T28" fmla="*/ 55 w 60"/>
                <a:gd name="T29" fmla="*/ 176 h 178"/>
                <a:gd name="T30" fmla="*/ 46 w 60"/>
                <a:gd name="T31" fmla="*/ 165 h 178"/>
                <a:gd name="T32" fmla="*/ 46 w 60"/>
                <a:gd name="T33" fmla="*/ 43 h 178"/>
                <a:gd name="T34" fmla="*/ 46 w 60"/>
                <a:gd name="T35" fmla="*/ 37 h 178"/>
                <a:gd name="T36" fmla="*/ 51 w 60"/>
                <a:gd name="T37" fmla="*/ 26 h 178"/>
                <a:gd name="T38" fmla="*/ 4 w 60"/>
                <a:gd name="T3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178">
                  <a:moveTo>
                    <a:pt x="4" y="0"/>
                  </a:moveTo>
                  <a:cubicBezTo>
                    <a:pt x="2" y="3"/>
                    <a:pt x="1" y="7"/>
                    <a:pt x="0" y="11"/>
                  </a:cubicBezTo>
                  <a:cubicBezTo>
                    <a:pt x="0" y="13"/>
                    <a:pt x="0" y="14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8"/>
                    <a:pt x="7" y="161"/>
                    <a:pt x="16" y="166"/>
                  </a:cubicBezTo>
                  <a:cubicBezTo>
                    <a:pt x="29" y="174"/>
                    <a:pt x="29" y="174"/>
                    <a:pt x="29" y="174"/>
                  </a:cubicBezTo>
                  <a:cubicBezTo>
                    <a:pt x="34" y="177"/>
                    <a:pt x="40" y="178"/>
                    <a:pt x="46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51" y="178"/>
                    <a:pt x="55" y="177"/>
                    <a:pt x="60" y="176"/>
                  </a:cubicBezTo>
                  <a:cubicBezTo>
                    <a:pt x="59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57" y="176"/>
                    <a:pt x="56" y="176"/>
                    <a:pt x="55" y="176"/>
                  </a:cubicBezTo>
                  <a:cubicBezTo>
                    <a:pt x="50" y="176"/>
                    <a:pt x="46" y="172"/>
                    <a:pt x="46" y="165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1"/>
                    <a:pt x="46" y="39"/>
                    <a:pt x="46" y="37"/>
                  </a:cubicBezTo>
                  <a:cubicBezTo>
                    <a:pt x="47" y="34"/>
                    <a:pt x="49" y="30"/>
                    <a:pt x="51" y="26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2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ïṡḻ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493F362-BC0F-4615-84AF-CC34633909B4}"/>
                </a:ext>
              </a:extLst>
            </p:cNvPr>
            <p:cNvSpPr/>
            <p:nvPr/>
          </p:nvSpPr>
          <p:spPr bwMode="auto">
            <a:xfrm>
              <a:off x="5095875" y="3355975"/>
              <a:ext cx="314325" cy="541338"/>
            </a:xfrm>
            <a:custGeom>
              <a:avLst/>
              <a:gdLst>
                <a:gd name="T0" fmla="*/ 124 w 124"/>
                <a:gd name="T1" fmla="*/ 0 h 214"/>
                <a:gd name="T2" fmla="*/ 124 w 124"/>
                <a:gd name="T3" fmla="*/ 1 h 214"/>
                <a:gd name="T4" fmla="*/ 124 w 124"/>
                <a:gd name="T5" fmla="*/ 124 h 214"/>
                <a:gd name="T6" fmla="*/ 107 w 124"/>
                <a:gd name="T7" fmla="*/ 152 h 214"/>
                <a:gd name="T8" fmla="*/ 1 w 124"/>
                <a:gd name="T9" fmla="*/ 213 h 214"/>
                <a:gd name="T10" fmla="*/ 0 w 124"/>
                <a:gd name="T11" fmla="*/ 214 h 214"/>
                <a:gd name="T12" fmla="*/ 1 w 124"/>
                <a:gd name="T13" fmla="*/ 213 h 214"/>
                <a:gd name="T14" fmla="*/ 107 w 124"/>
                <a:gd name="T15" fmla="*/ 152 h 214"/>
                <a:gd name="T16" fmla="*/ 124 w 124"/>
                <a:gd name="T17" fmla="*/ 124 h 214"/>
                <a:gd name="T18" fmla="*/ 124 w 124"/>
                <a:gd name="T19" fmla="*/ 1 h 214"/>
                <a:gd name="T20" fmla="*/ 124 w 124"/>
                <a:gd name="T2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214">
                  <a:moveTo>
                    <a:pt x="124" y="0"/>
                  </a:moveTo>
                  <a:cubicBezTo>
                    <a:pt x="124" y="0"/>
                    <a:pt x="124" y="1"/>
                    <a:pt x="124" y="1"/>
                  </a:cubicBezTo>
                  <a:cubicBezTo>
                    <a:pt x="124" y="124"/>
                    <a:pt x="124" y="124"/>
                    <a:pt x="124" y="124"/>
                  </a:cubicBezTo>
                  <a:cubicBezTo>
                    <a:pt x="124" y="134"/>
                    <a:pt x="116" y="147"/>
                    <a:pt x="107" y="152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" y="213"/>
                    <a:pt x="1" y="213"/>
                    <a:pt x="0" y="214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16" y="147"/>
                    <a:pt x="124" y="134"/>
                    <a:pt x="124" y="124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0"/>
                    <a:pt x="124" y="0"/>
                  </a:cubicBezTo>
                </a:path>
              </a:pathLst>
            </a:cu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íśḷ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A01DEF1-8792-4C0C-A666-2CF04393079C}"/>
                </a:ext>
              </a:extLst>
            </p:cNvPr>
            <p:cNvSpPr/>
            <p:nvPr/>
          </p:nvSpPr>
          <p:spPr bwMode="auto">
            <a:xfrm>
              <a:off x="5057775" y="3330575"/>
              <a:ext cx="352425" cy="568325"/>
            </a:xfrm>
            <a:custGeom>
              <a:avLst/>
              <a:gdLst>
                <a:gd name="T0" fmla="*/ 129 w 139"/>
                <a:gd name="T1" fmla="*/ 0 h 225"/>
                <a:gd name="T2" fmla="*/ 122 w 139"/>
                <a:gd name="T3" fmla="*/ 2 h 225"/>
                <a:gd name="T4" fmla="*/ 52 w 139"/>
                <a:gd name="T5" fmla="*/ 42 h 225"/>
                <a:gd name="T6" fmla="*/ 16 w 139"/>
                <a:gd name="T7" fmla="*/ 63 h 225"/>
                <a:gd name="T8" fmla="*/ 5 w 139"/>
                <a:gd name="T9" fmla="*/ 75 h 225"/>
                <a:gd name="T10" fmla="*/ 5 w 139"/>
                <a:gd name="T11" fmla="*/ 75 h 225"/>
                <a:gd name="T12" fmla="*/ 0 w 139"/>
                <a:gd name="T13" fmla="*/ 86 h 225"/>
                <a:gd name="T14" fmla="*/ 0 w 139"/>
                <a:gd name="T15" fmla="*/ 91 h 225"/>
                <a:gd name="T16" fmla="*/ 0 w 139"/>
                <a:gd name="T17" fmla="*/ 214 h 225"/>
                <a:gd name="T18" fmla="*/ 9 w 139"/>
                <a:gd name="T19" fmla="*/ 225 h 225"/>
                <a:gd name="T20" fmla="*/ 12 w 139"/>
                <a:gd name="T21" fmla="*/ 225 h 225"/>
                <a:gd name="T22" fmla="*/ 12 w 139"/>
                <a:gd name="T23" fmla="*/ 225 h 225"/>
                <a:gd name="T24" fmla="*/ 12 w 139"/>
                <a:gd name="T25" fmla="*/ 225 h 225"/>
                <a:gd name="T26" fmla="*/ 12 w 139"/>
                <a:gd name="T27" fmla="*/ 225 h 225"/>
                <a:gd name="T28" fmla="*/ 12 w 139"/>
                <a:gd name="T29" fmla="*/ 225 h 225"/>
                <a:gd name="T30" fmla="*/ 14 w 139"/>
                <a:gd name="T31" fmla="*/ 225 h 225"/>
                <a:gd name="T32" fmla="*/ 14 w 139"/>
                <a:gd name="T33" fmla="*/ 225 h 225"/>
                <a:gd name="T34" fmla="*/ 15 w 139"/>
                <a:gd name="T35" fmla="*/ 224 h 225"/>
                <a:gd name="T36" fmla="*/ 16 w 139"/>
                <a:gd name="T37" fmla="*/ 223 h 225"/>
                <a:gd name="T38" fmla="*/ 122 w 139"/>
                <a:gd name="T39" fmla="*/ 162 h 225"/>
                <a:gd name="T40" fmla="*/ 139 w 139"/>
                <a:gd name="T41" fmla="*/ 134 h 225"/>
                <a:gd name="T42" fmla="*/ 139 w 139"/>
                <a:gd name="T43" fmla="*/ 11 h 225"/>
                <a:gd name="T44" fmla="*/ 139 w 139"/>
                <a:gd name="T45" fmla="*/ 10 h 225"/>
                <a:gd name="T46" fmla="*/ 138 w 139"/>
                <a:gd name="T47" fmla="*/ 8 h 225"/>
                <a:gd name="T48" fmla="*/ 138 w 139"/>
                <a:gd name="T49" fmla="*/ 9 h 225"/>
                <a:gd name="T50" fmla="*/ 129 w 139"/>
                <a:gd name="T5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225">
                  <a:moveTo>
                    <a:pt x="129" y="0"/>
                  </a:moveTo>
                  <a:cubicBezTo>
                    <a:pt x="127" y="0"/>
                    <a:pt x="125" y="0"/>
                    <a:pt x="122" y="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2" y="66"/>
                    <a:pt x="8" y="70"/>
                    <a:pt x="5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3" y="79"/>
                    <a:pt x="1" y="83"/>
                    <a:pt x="0" y="86"/>
                  </a:cubicBezTo>
                  <a:cubicBezTo>
                    <a:pt x="0" y="88"/>
                    <a:pt x="0" y="90"/>
                    <a:pt x="0" y="91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21"/>
                    <a:pt x="4" y="225"/>
                    <a:pt x="9" y="225"/>
                  </a:cubicBezTo>
                  <a:cubicBezTo>
                    <a:pt x="10" y="225"/>
                    <a:pt x="11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25"/>
                    <a:pt x="13" y="225"/>
                    <a:pt x="14" y="225"/>
                  </a:cubicBezTo>
                  <a:cubicBezTo>
                    <a:pt x="14" y="225"/>
                    <a:pt x="14" y="225"/>
                    <a:pt x="14" y="225"/>
                  </a:cubicBezTo>
                  <a:cubicBezTo>
                    <a:pt x="14" y="224"/>
                    <a:pt x="15" y="224"/>
                    <a:pt x="15" y="224"/>
                  </a:cubicBezTo>
                  <a:cubicBezTo>
                    <a:pt x="16" y="223"/>
                    <a:pt x="16" y="223"/>
                    <a:pt x="16" y="22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31" y="157"/>
                    <a:pt x="139" y="144"/>
                    <a:pt x="139" y="134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1"/>
                    <a:pt x="139" y="10"/>
                    <a:pt x="139" y="10"/>
                  </a:cubicBezTo>
                  <a:cubicBezTo>
                    <a:pt x="138" y="9"/>
                    <a:pt x="138" y="9"/>
                    <a:pt x="138" y="8"/>
                  </a:cubicBezTo>
                  <a:cubicBezTo>
                    <a:pt x="138" y="8"/>
                    <a:pt x="138" y="9"/>
                    <a:pt x="138" y="9"/>
                  </a:cubicBezTo>
                  <a:cubicBezTo>
                    <a:pt x="138" y="3"/>
                    <a:pt x="134" y="0"/>
                    <a:pt x="129" y="0"/>
                  </a:cubicBezTo>
                </a:path>
              </a:pathLst>
            </a:custGeom>
            <a:solidFill>
              <a:srgbClr val="15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ïś1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4FA0E7-5A24-4FEE-B958-48E412331B54}"/>
                </a:ext>
              </a:extLst>
            </p:cNvPr>
            <p:cNvSpPr/>
            <p:nvPr/>
          </p:nvSpPr>
          <p:spPr bwMode="auto">
            <a:xfrm>
              <a:off x="5057775" y="3519488"/>
              <a:ext cx="34925" cy="379413"/>
            </a:xfrm>
            <a:custGeom>
              <a:avLst/>
              <a:gdLst>
                <a:gd name="T0" fmla="*/ 12 w 14"/>
                <a:gd name="T1" fmla="*/ 150 h 150"/>
                <a:gd name="T2" fmla="*/ 12 w 14"/>
                <a:gd name="T3" fmla="*/ 150 h 150"/>
                <a:gd name="T4" fmla="*/ 12 w 14"/>
                <a:gd name="T5" fmla="*/ 150 h 150"/>
                <a:gd name="T6" fmla="*/ 12 w 14"/>
                <a:gd name="T7" fmla="*/ 150 h 150"/>
                <a:gd name="T8" fmla="*/ 12 w 14"/>
                <a:gd name="T9" fmla="*/ 150 h 150"/>
                <a:gd name="T10" fmla="*/ 12 w 14"/>
                <a:gd name="T11" fmla="*/ 150 h 150"/>
                <a:gd name="T12" fmla="*/ 14 w 14"/>
                <a:gd name="T13" fmla="*/ 150 h 150"/>
                <a:gd name="T14" fmla="*/ 12 w 14"/>
                <a:gd name="T15" fmla="*/ 150 h 150"/>
                <a:gd name="T16" fmla="*/ 14 w 14"/>
                <a:gd name="T17" fmla="*/ 150 h 150"/>
                <a:gd name="T18" fmla="*/ 14 w 14"/>
                <a:gd name="T19" fmla="*/ 150 h 150"/>
                <a:gd name="T20" fmla="*/ 5 w 14"/>
                <a:gd name="T21" fmla="*/ 0 h 150"/>
                <a:gd name="T22" fmla="*/ 0 w 14"/>
                <a:gd name="T23" fmla="*/ 11 h 150"/>
                <a:gd name="T24" fmla="*/ 5 w 14"/>
                <a:gd name="T25" fmla="*/ 0 h 150"/>
                <a:gd name="T26" fmla="*/ 5 w 14"/>
                <a:gd name="T2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50"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2" y="150"/>
                  </a:moveTo>
                  <a:cubicBezTo>
                    <a:pt x="12" y="150"/>
                    <a:pt x="12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moveTo>
                    <a:pt x="14" y="150"/>
                  </a:moveTo>
                  <a:cubicBezTo>
                    <a:pt x="13" y="150"/>
                    <a:pt x="12" y="150"/>
                    <a:pt x="12" y="150"/>
                  </a:cubicBezTo>
                  <a:cubicBezTo>
                    <a:pt x="12" y="150"/>
                    <a:pt x="13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moveTo>
                    <a:pt x="5" y="0"/>
                  </a:moveTo>
                  <a:cubicBezTo>
                    <a:pt x="3" y="4"/>
                    <a:pt x="1" y="8"/>
                    <a:pt x="0" y="11"/>
                  </a:cubicBezTo>
                  <a:cubicBezTo>
                    <a:pt x="1" y="8"/>
                    <a:pt x="3" y="4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A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işl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1BFE5B1-DAB4-4B07-8181-67482F875921}"/>
                </a:ext>
              </a:extLst>
            </p:cNvPr>
            <p:cNvSpPr/>
            <p:nvPr/>
          </p:nvSpPr>
          <p:spPr bwMode="auto">
            <a:xfrm>
              <a:off x="5181600" y="3444875"/>
              <a:ext cx="101600" cy="341313"/>
            </a:xfrm>
            <a:custGeom>
              <a:avLst/>
              <a:gdLst>
                <a:gd name="T0" fmla="*/ 9 w 40"/>
                <a:gd name="T1" fmla="*/ 135 h 135"/>
                <a:gd name="T2" fmla="*/ 27 w 40"/>
                <a:gd name="T3" fmla="*/ 125 h 135"/>
                <a:gd name="T4" fmla="*/ 27 w 40"/>
                <a:gd name="T5" fmla="*/ 66 h 135"/>
                <a:gd name="T6" fmla="*/ 39 w 40"/>
                <a:gd name="T7" fmla="*/ 59 h 135"/>
                <a:gd name="T8" fmla="*/ 40 w 40"/>
                <a:gd name="T9" fmla="*/ 38 h 135"/>
                <a:gd name="T10" fmla="*/ 27 w 40"/>
                <a:gd name="T11" fmla="*/ 46 h 135"/>
                <a:gd name="T12" fmla="*/ 27 w 40"/>
                <a:gd name="T13" fmla="*/ 35 h 135"/>
                <a:gd name="T14" fmla="*/ 31 w 40"/>
                <a:gd name="T15" fmla="*/ 26 h 135"/>
                <a:gd name="T16" fmla="*/ 40 w 40"/>
                <a:gd name="T17" fmla="*/ 21 h 135"/>
                <a:gd name="T18" fmla="*/ 40 w 40"/>
                <a:gd name="T19" fmla="*/ 0 h 135"/>
                <a:gd name="T20" fmla="*/ 28 w 40"/>
                <a:gd name="T21" fmla="*/ 7 h 135"/>
                <a:gd name="T22" fmla="*/ 9 w 40"/>
                <a:gd name="T23" fmla="*/ 41 h 135"/>
                <a:gd name="T24" fmla="*/ 9 w 40"/>
                <a:gd name="T25" fmla="*/ 56 h 135"/>
                <a:gd name="T26" fmla="*/ 0 w 40"/>
                <a:gd name="T27" fmla="*/ 62 h 135"/>
                <a:gd name="T28" fmla="*/ 0 w 40"/>
                <a:gd name="T29" fmla="*/ 82 h 135"/>
                <a:gd name="T30" fmla="*/ 9 w 40"/>
                <a:gd name="T31" fmla="*/ 76 h 135"/>
                <a:gd name="T32" fmla="*/ 9 w 40"/>
                <a:gd name="T3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35">
                  <a:moveTo>
                    <a:pt x="9" y="135"/>
                  </a:moveTo>
                  <a:cubicBezTo>
                    <a:pt x="27" y="125"/>
                    <a:pt x="27" y="125"/>
                    <a:pt x="27" y="12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39"/>
                    <a:pt x="27" y="35"/>
                  </a:cubicBezTo>
                  <a:cubicBezTo>
                    <a:pt x="27" y="30"/>
                    <a:pt x="28" y="28"/>
                    <a:pt x="31" y="26"/>
                  </a:cubicBezTo>
                  <a:cubicBezTo>
                    <a:pt x="34" y="25"/>
                    <a:pt x="40" y="21"/>
                    <a:pt x="40" y="2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30" y="6"/>
                    <a:pt x="28" y="7"/>
                  </a:cubicBezTo>
                  <a:cubicBezTo>
                    <a:pt x="15" y="15"/>
                    <a:pt x="9" y="26"/>
                    <a:pt x="9" y="41"/>
                  </a:cubicBezTo>
                  <a:cubicBezTo>
                    <a:pt x="9" y="53"/>
                    <a:pt x="9" y="56"/>
                    <a:pt x="9" y="5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9" y="76"/>
                    <a:pt x="9" y="76"/>
                    <a:pt x="9" y="76"/>
                  </a:cubicBezTo>
                  <a:lnTo>
                    <a:pt x="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îSḻ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3D7E53D-D2B2-452E-93A3-C51079FF9F52}"/>
                </a:ext>
              </a:extLst>
            </p:cNvPr>
            <p:cNvSpPr/>
            <p:nvPr/>
          </p:nvSpPr>
          <p:spPr bwMode="auto">
            <a:xfrm>
              <a:off x="5297488" y="3257550"/>
              <a:ext cx="46038" cy="17463"/>
            </a:xfrm>
            <a:custGeom>
              <a:avLst/>
              <a:gdLst>
                <a:gd name="T0" fmla="*/ 0 w 18"/>
                <a:gd name="T1" fmla="*/ 0 h 7"/>
                <a:gd name="T2" fmla="*/ 14 w 18"/>
                <a:gd name="T3" fmla="*/ 4 h 7"/>
                <a:gd name="T4" fmla="*/ 18 w 18"/>
                <a:gd name="T5" fmla="*/ 7 h 7"/>
                <a:gd name="T6" fmla="*/ 14 w 18"/>
                <a:gd name="T7" fmla="*/ 4 h 7"/>
                <a:gd name="T8" fmla="*/ 0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cubicBezTo>
                    <a:pt x="5" y="1"/>
                    <a:pt x="10" y="2"/>
                    <a:pt x="14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2"/>
                    <a:pt x="5" y="1"/>
                    <a:pt x="0" y="0"/>
                  </a:cubicBezTo>
                </a:path>
              </a:pathLst>
            </a:cu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íŝļí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94260A2-A01E-40A0-9F41-AC0C3C9CDF3E}"/>
                </a:ext>
              </a:extLst>
            </p:cNvPr>
            <p:cNvSpPr/>
            <p:nvPr/>
          </p:nvSpPr>
          <p:spPr bwMode="auto">
            <a:xfrm>
              <a:off x="4953000" y="3257550"/>
              <a:ext cx="454025" cy="261938"/>
            </a:xfrm>
            <a:custGeom>
              <a:avLst/>
              <a:gdLst>
                <a:gd name="T0" fmla="*/ 133 w 179"/>
                <a:gd name="T1" fmla="*/ 0 h 104"/>
                <a:gd name="T2" fmla="*/ 117 w 179"/>
                <a:gd name="T3" fmla="*/ 4 h 104"/>
                <a:gd name="T4" fmla="*/ 11 w 179"/>
                <a:gd name="T5" fmla="*/ 65 h 104"/>
                <a:gd name="T6" fmla="*/ 0 w 179"/>
                <a:gd name="T7" fmla="*/ 78 h 104"/>
                <a:gd name="T8" fmla="*/ 46 w 179"/>
                <a:gd name="T9" fmla="*/ 104 h 104"/>
                <a:gd name="T10" fmla="*/ 57 w 179"/>
                <a:gd name="T11" fmla="*/ 92 h 104"/>
                <a:gd name="T12" fmla="*/ 93 w 179"/>
                <a:gd name="T13" fmla="*/ 71 h 104"/>
                <a:gd name="T14" fmla="*/ 163 w 179"/>
                <a:gd name="T15" fmla="*/ 31 h 104"/>
                <a:gd name="T16" fmla="*/ 170 w 179"/>
                <a:gd name="T17" fmla="*/ 29 h 104"/>
                <a:gd name="T18" fmla="*/ 179 w 179"/>
                <a:gd name="T19" fmla="*/ 37 h 104"/>
                <a:gd name="T20" fmla="*/ 163 w 179"/>
                <a:gd name="T21" fmla="*/ 12 h 104"/>
                <a:gd name="T22" fmla="*/ 154 w 179"/>
                <a:gd name="T23" fmla="*/ 7 h 104"/>
                <a:gd name="T24" fmla="*/ 150 w 179"/>
                <a:gd name="T25" fmla="*/ 4 h 104"/>
                <a:gd name="T26" fmla="*/ 136 w 179"/>
                <a:gd name="T27" fmla="*/ 0 h 104"/>
                <a:gd name="T28" fmla="*/ 133 w 179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04">
                  <a:moveTo>
                    <a:pt x="133" y="0"/>
                  </a:moveTo>
                  <a:cubicBezTo>
                    <a:pt x="127" y="0"/>
                    <a:pt x="121" y="2"/>
                    <a:pt x="117" y="4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7" y="68"/>
                    <a:pt x="2" y="72"/>
                    <a:pt x="0" y="7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9" y="99"/>
                    <a:pt x="53" y="95"/>
                    <a:pt x="57" y="92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6" y="29"/>
                    <a:pt x="168" y="29"/>
                    <a:pt x="170" y="29"/>
                  </a:cubicBezTo>
                  <a:cubicBezTo>
                    <a:pt x="175" y="29"/>
                    <a:pt x="178" y="32"/>
                    <a:pt x="179" y="37"/>
                  </a:cubicBezTo>
                  <a:cubicBezTo>
                    <a:pt x="178" y="28"/>
                    <a:pt x="171" y="17"/>
                    <a:pt x="163" y="12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2"/>
                    <a:pt x="141" y="1"/>
                    <a:pt x="136" y="0"/>
                  </a:cubicBezTo>
                  <a:cubicBezTo>
                    <a:pt x="135" y="0"/>
                    <a:pt x="134" y="0"/>
                    <a:pt x="13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7" name="íŝḷ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F03276-9D23-4ACC-AA4B-174DAFF67013}"/>
                </a:ext>
              </a:extLst>
            </p:cNvPr>
            <p:cNvSpPr/>
            <p:nvPr/>
          </p:nvSpPr>
          <p:spPr bwMode="auto">
            <a:xfrm>
              <a:off x="5189538" y="3330575"/>
              <a:ext cx="217488" cy="106363"/>
            </a:xfrm>
            <a:custGeom>
              <a:avLst/>
              <a:gdLst>
                <a:gd name="T0" fmla="*/ 77 w 86"/>
                <a:gd name="T1" fmla="*/ 0 h 42"/>
                <a:gd name="T2" fmla="*/ 70 w 86"/>
                <a:gd name="T3" fmla="*/ 2 h 42"/>
                <a:gd name="T4" fmla="*/ 0 w 86"/>
                <a:gd name="T5" fmla="*/ 42 h 42"/>
                <a:gd name="T6" fmla="*/ 70 w 86"/>
                <a:gd name="T7" fmla="*/ 2 h 42"/>
                <a:gd name="T8" fmla="*/ 77 w 86"/>
                <a:gd name="T9" fmla="*/ 0 h 42"/>
                <a:gd name="T10" fmla="*/ 86 w 86"/>
                <a:gd name="T11" fmla="*/ 9 h 42"/>
                <a:gd name="T12" fmla="*/ 86 w 86"/>
                <a:gd name="T13" fmla="*/ 8 h 42"/>
                <a:gd name="T14" fmla="*/ 77 w 86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42">
                  <a:moveTo>
                    <a:pt x="77" y="0"/>
                  </a:moveTo>
                  <a:cubicBezTo>
                    <a:pt x="75" y="0"/>
                    <a:pt x="73" y="0"/>
                    <a:pt x="70" y="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3" y="0"/>
                    <a:pt x="75" y="0"/>
                    <a:pt x="77" y="0"/>
                  </a:cubicBezTo>
                  <a:cubicBezTo>
                    <a:pt x="82" y="0"/>
                    <a:pt x="86" y="3"/>
                    <a:pt x="86" y="9"/>
                  </a:cubicBezTo>
                  <a:cubicBezTo>
                    <a:pt x="86" y="9"/>
                    <a:pt x="86" y="8"/>
                    <a:pt x="86" y="8"/>
                  </a:cubicBezTo>
                  <a:cubicBezTo>
                    <a:pt x="85" y="3"/>
                    <a:pt x="82" y="0"/>
                    <a:pt x="77" y="0"/>
                  </a:cubicBezTo>
                </a:path>
              </a:pathLst>
            </a:custGeom>
            <a:solidFill>
              <a:srgbClr val="0E4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íṧ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137ADE7-29F7-479B-8CE3-26E25207DA95}"/>
                </a:ext>
              </a:extLst>
            </p:cNvPr>
            <p:cNvSpPr/>
            <p:nvPr/>
          </p:nvSpPr>
          <p:spPr bwMode="auto">
            <a:xfrm>
              <a:off x="7326313" y="2552700"/>
              <a:ext cx="331788" cy="420688"/>
            </a:xfrm>
            <a:custGeom>
              <a:avLst/>
              <a:gdLst>
                <a:gd name="T0" fmla="*/ 0 w 131"/>
                <a:gd name="T1" fmla="*/ 0 h 167"/>
                <a:gd name="T2" fmla="*/ 51 w 131"/>
                <a:gd name="T3" fmla="*/ 21 h 167"/>
                <a:gd name="T4" fmla="*/ 131 w 131"/>
                <a:gd name="T5" fmla="*/ 134 h 167"/>
                <a:gd name="T6" fmla="*/ 94 w 131"/>
                <a:gd name="T7" fmla="*/ 164 h 167"/>
                <a:gd name="T8" fmla="*/ 43 w 131"/>
                <a:gd name="T9" fmla="*/ 103 h 167"/>
                <a:gd name="T10" fmla="*/ 0 w 131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67">
                  <a:moveTo>
                    <a:pt x="0" y="0"/>
                  </a:moveTo>
                  <a:cubicBezTo>
                    <a:pt x="26" y="2"/>
                    <a:pt x="38" y="6"/>
                    <a:pt x="51" y="21"/>
                  </a:cubicBezTo>
                  <a:cubicBezTo>
                    <a:pt x="64" y="37"/>
                    <a:pt x="131" y="134"/>
                    <a:pt x="131" y="134"/>
                  </a:cubicBezTo>
                  <a:cubicBezTo>
                    <a:pt x="131" y="134"/>
                    <a:pt x="120" y="167"/>
                    <a:pt x="94" y="16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iṧ1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71252D6-F196-4793-B576-9CB2AF678AE9}"/>
                </a:ext>
              </a:extLst>
            </p:cNvPr>
            <p:cNvSpPr/>
            <p:nvPr/>
          </p:nvSpPr>
          <p:spPr bwMode="auto">
            <a:xfrm>
              <a:off x="7319963" y="2546350"/>
              <a:ext cx="217488" cy="276225"/>
            </a:xfrm>
            <a:custGeom>
              <a:avLst/>
              <a:gdLst>
                <a:gd name="T0" fmla="*/ 0 w 86"/>
                <a:gd name="T1" fmla="*/ 2 h 109"/>
                <a:gd name="T2" fmla="*/ 31 w 86"/>
                <a:gd name="T3" fmla="*/ 5 h 109"/>
                <a:gd name="T4" fmla="*/ 62 w 86"/>
                <a:gd name="T5" fmla="*/ 31 h 109"/>
                <a:gd name="T6" fmla="*/ 86 w 86"/>
                <a:gd name="T7" fmla="*/ 64 h 109"/>
                <a:gd name="T8" fmla="*/ 41 w 86"/>
                <a:gd name="T9" fmla="*/ 109 h 109"/>
                <a:gd name="T10" fmla="*/ 0 w 86"/>
                <a:gd name="T11" fmla="*/ 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09">
                  <a:moveTo>
                    <a:pt x="0" y="2"/>
                  </a:moveTo>
                  <a:cubicBezTo>
                    <a:pt x="0" y="2"/>
                    <a:pt x="18" y="0"/>
                    <a:pt x="31" y="5"/>
                  </a:cubicBezTo>
                  <a:cubicBezTo>
                    <a:pt x="44" y="10"/>
                    <a:pt x="55" y="20"/>
                    <a:pt x="62" y="31"/>
                  </a:cubicBezTo>
                  <a:cubicBezTo>
                    <a:pt x="70" y="41"/>
                    <a:pt x="86" y="64"/>
                    <a:pt x="86" y="64"/>
                  </a:cubicBezTo>
                  <a:cubicBezTo>
                    <a:pt x="86" y="64"/>
                    <a:pt x="74" y="89"/>
                    <a:pt x="41" y="109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îšḷ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B31A989-F987-46DB-9941-E4C812F5BD39}"/>
                </a:ext>
              </a:extLst>
            </p:cNvPr>
            <p:cNvSpPr/>
            <p:nvPr/>
          </p:nvSpPr>
          <p:spPr bwMode="auto">
            <a:xfrm>
              <a:off x="7013575" y="2076450"/>
              <a:ext cx="434975" cy="407988"/>
            </a:xfrm>
            <a:custGeom>
              <a:avLst/>
              <a:gdLst>
                <a:gd name="T0" fmla="*/ 90 w 172"/>
                <a:gd name="T1" fmla="*/ 161 h 161"/>
                <a:gd name="T2" fmla="*/ 82 w 172"/>
                <a:gd name="T3" fmla="*/ 161 h 161"/>
                <a:gd name="T4" fmla="*/ 0 w 172"/>
                <a:gd name="T5" fmla="*/ 79 h 161"/>
                <a:gd name="T6" fmla="*/ 0 w 172"/>
                <a:gd name="T7" fmla="*/ 79 h 161"/>
                <a:gd name="T8" fmla="*/ 79 w 172"/>
                <a:gd name="T9" fmla="*/ 0 h 161"/>
                <a:gd name="T10" fmla="*/ 93 w 172"/>
                <a:gd name="T11" fmla="*/ 0 h 161"/>
                <a:gd name="T12" fmla="*/ 172 w 172"/>
                <a:gd name="T13" fmla="*/ 79 h 161"/>
                <a:gd name="T14" fmla="*/ 90 w 172"/>
                <a:gd name="T1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161">
                  <a:moveTo>
                    <a:pt x="90" y="161"/>
                  </a:moveTo>
                  <a:cubicBezTo>
                    <a:pt x="82" y="161"/>
                    <a:pt x="82" y="161"/>
                    <a:pt x="82" y="161"/>
                  </a:cubicBezTo>
                  <a:cubicBezTo>
                    <a:pt x="37" y="161"/>
                    <a:pt x="0" y="124"/>
                    <a:pt x="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37" y="0"/>
                    <a:pt x="172" y="35"/>
                    <a:pt x="172" y="79"/>
                  </a:cubicBezTo>
                  <a:cubicBezTo>
                    <a:pt x="172" y="124"/>
                    <a:pt x="136" y="161"/>
                    <a:pt x="90" y="16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íṧļ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24E1E5-618B-4963-AA1B-D1FB31F522C2}"/>
                </a:ext>
              </a:extLst>
            </p:cNvPr>
            <p:cNvSpPr/>
            <p:nvPr/>
          </p:nvSpPr>
          <p:spPr bwMode="auto">
            <a:xfrm>
              <a:off x="7026275" y="2438400"/>
              <a:ext cx="133350" cy="268288"/>
            </a:xfrm>
            <a:custGeom>
              <a:avLst/>
              <a:gdLst>
                <a:gd name="T0" fmla="*/ 0 w 53"/>
                <a:gd name="T1" fmla="*/ 106 h 106"/>
                <a:gd name="T2" fmla="*/ 0 w 53"/>
                <a:gd name="T3" fmla="*/ 106 h 106"/>
                <a:gd name="T4" fmla="*/ 53 w 53"/>
                <a:gd name="T5" fmla="*/ 53 h 106"/>
                <a:gd name="T6" fmla="*/ 53 w 53"/>
                <a:gd name="T7" fmla="*/ 0 h 106"/>
                <a:gd name="T8" fmla="*/ 0 w 53"/>
                <a:gd name="T9" fmla="*/ 53 h 106"/>
                <a:gd name="T10" fmla="*/ 0 w 53"/>
                <a:gd name="T1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06">
                  <a:moveTo>
                    <a:pt x="0" y="106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0" y="106"/>
                    <a:pt x="53" y="83"/>
                    <a:pt x="53" y="53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íṥli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1C66B8-FE84-40D4-B5C3-EE0F60EF767D}"/>
                </a:ext>
              </a:extLst>
            </p:cNvPr>
            <p:cNvSpPr/>
            <p:nvPr/>
          </p:nvSpPr>
          <p:spPr bwMode="auto">
            <a:xfrm>
              <a:off x="6975475" y="4635500"/>
              <a:ext cx="288925" cy="257175"/>
            </a:xfrm>
            <a:custGeom>
              <a:avLst/>
              <a:gdLst>
                <a:gd name="T0" fmla="*/ 48 w 114"/>
                <a:gd name="T1" fmla="*/ 6 h 102"/>
                <a:gd name="T2" fmla="*/ 48 w 114"/>
                <a:gd name="T3" fmla="*/ 0 h 102"/>
                <a:gd name="T4" fmla="*/ 76 w 114"/>
                <a:gd name="T5" fmla="*/ 49 h 102"/>
                <a:gd name="T6" fmla="*/ 109 w 114"/>
                <a:gd name="T7" fmla="*/ 85 h 102"/>
                <a:gd name="T8" fmla="*/ 75 w 114"/>
                <a:gd name="T9" fmla="*/ 100 h 102"/>
                <a:gd name="T10" fmla="*/ 35 w 114"/>
                <a:gd name="T11" fmla="*/ 79 h 102"/>
                <a:gd name="T12" fmla="*/ 20 w 114"/>
                <a:gd name="T13" fmla="*/ 55 h 102"/>
                <a:gd name="T14" fmla="*/ 1 w 114"/>
                <a:gd name="T15" fmla="*/ 34 h 102"/>
                <a:gd name="T16" fmla="*/ 4 w 114"/>
                <a:gd name="T17" fmla="*/ 14 h 102"/>
                <a:gd name="T18" fmla="*/ 10 w 114"/>
                <a:gd name="T19" fmla="*/ 0 h 102"/>
                <a:gd name="T20" fmla="*/ 10 w 114"/>
                <a:gd name="T21" fmla="*/ 5 h 102"/>
                <a:gd name="T22" fmla="*/ 29 w 114"/>
                <a:gd name="T23" fmla="*/ 11 h 102"/>
                <a:gd name="T24" fmla="*/ 48 w 114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1" y="7"/>
                    <a:pt x="61" y="35"/>
                    <a:pt x="76" y="49"/>
                  </a:cubicBezTo>
                  <a:cubicBezTo>
                    <a:pt x="88" y="60"/>
                    <a:pt x="105" y="73"/>
                    <a:pt x="109" y="85"/>
                  </a:cubicBezTo>
                  <a:cubicBezTo>
                    <a:pt x="114" y="98"/>
                    <a:pt x="86" y="102"/>
                    <a:pt x="75" y="100"/>
                  </a:cubicBezTo>
                  <a:cubicBezTo>
                    <a:pt x="61" y="98"/>
                    <a:pt x="44" y="91"/>
                    <a:pt x="35" y="79"/>
                  </a:cubicBezTo>
                  <a:cubicBezTo>
                    <a:pt x="28" y="71"/>
                    <a:pt x="24" y="62"/>
                    <a:pt x="20" y="55"/>
                  </a:cubicBezTo>
                  <a:cubicBezTo>
                    <a:pt x="15" y="49"/>
                    <a:pt x="4" y="42"/>
                    <a:pt x="1" y="34"/>
                  </a:cubicBezTo>
                  <a:cubicBezTo>
                    <a:pt x="0" y="30"/>
                    <a:pt x="2" y="22"/>
                    <a:pt x="4" y="14"/>
                  </a:cubicBezTo>
                  <a:cubicBezTo>
                    <a:pt x="6" y="7"/>
                    <a:pt x="7" y="0"/>
                    <a:pt x="10" y="0"/>
                  </a:cubicBezTo>
                  <a:cubicBezTo>
                    <a:pt x="10" y="1"/>
                    <a:pt x="10" y="5"/>
                    <a:pt x="10" y="5"/>
                  </a:cubicBezTo>
                  <a:cubicBezTo>
                    <a:pt x="13" y="8"/>
                    <a:pt x="20" y="11"/>
                    <a:pt x="29" y="11"/>
                  </a:cubicBezTo>
                  <a:cubicBezTo>
                    <a:pt x="35" y="11"/>
                    <a:pt x="49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íSļ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1C872E6-C420-4CE7-A999-F9BC07AB2A74}"/>
                </a:ext>
              </a:extLst>
            </p:cNvPr>
            <p:cNvSpPr/>
            <p:nvPr/>
          </p:nvSpPr>
          <p:spPr bwMode="auto">
            <a:xfrm>
              <a:off x="7000875" y="4556125"/>
              <a:ext cx="219075" cy="265113"/>
            </a:xfrm>
            <a:custGeom>
              <a:avLst/>
              <a:gdLst>
                <a:gd name="T0" fmla="*/ 77 w 87"/>
                <a:gd name="T1" fmla="*/ 90 h 105"/>
                <a:gd name="T2" fmla="*/ 66 w 87"/>
                <a:gd name="T3" fmla="*/ 80 h 105"/>
                <a:gd name="T4" fmla="*/ 43 w 87"/>
                <a:gd name="T5" fmla="*/ 42 h 105"/>
                <a:gd name="T6" fmla="*/ 38 w 87"/>
                <a:gd name="T7" fmla="*/ 22 h 105"/>
                <a:gd name="T8" fmla="*/ 38 w 87"/>
                <a:gd name="T9" fmla="*/ 0 h 105"/>
                <a:gd name="T10" fmla="*/ 0 w 87"/>
                <a:gd name="T11" fmla="*/ 0 h 105"/>
                <a:gd name="T12" fmla="*/ 0 w 87"/>
                <a:gd name="T13" fmla="*/ 36 h 105"/>
                <a:gd name="T14" fmla="*/ 0 w 87"/>
                <a:gd name="T15" fmla="*/ 36 h 105"/>
                <a:gd name="T16" fmla="*/ 0 w 87"/>
                <a:gd name="T17" fmla="*/ 37 h 105"/>
                <a:gd name="T18" fmla="*/ 0 w 87"/>
                <a:gd name="T19" fmla="*/ 37 h 105"/>
                <a:gd name="T20" fmla="*/ 30 w 87"/>
                <a:gd name="T21" fmla="*/ 80 h 105"/>
                <a:gd name="T22" fmla="*/ 65 w 87"/>
                <a:gd name="T23" fmla="*/ 103 h 105"/>
                <a:gd name="T24" fmla="*/ 77 w 87"/>
                <a:gd name="T25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5">
                  <a:moveTo>
                    <a:pt x="77" y="90"/>
                  </a:moveTo>
                  <a:cubicBezTo>
                    <a:pt x="73" y="86"/>
                    <a:pt x="70" y="83"/>
                    <a:pt x="66" y="80"/>
                  </a:cubicBezTo>
                  <a:cubicBezTo>
                    <a:pt x="55" y="70"/>
                    <a:pt x="47" y="53"/>
                    <a:pt x="43" y="42"/>
                  </a:cubicBezTo>
                  <a:cubicBezTo>
                    <a:pt x="40" y="36"/>
                    <a:pt x="38" y="29"/>
                    <a:pt x="38" y="2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6" y="89"/>
                    <a:pt x="49" y="101"/>
                    <a:pt x="65" y="103"/>
                  </a:cubicBezTo>
                  <a:cubicBezTo>
                    <a:pt x="79" y="105"/>
                    <a:pt x="87" y="101"/>
                    <a:pt x="77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ïśļ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98AE659-EB93-4091-A287-EF72FB165DE2}"/>
                </a:ext>
              </a:extLst>
            </p:cNvPr>
            <p:cNvSpPr/>
            <p:nvPr/>
          </p:nvSpPr>
          <p:spPr bwMode="auto">
            <a:xfrm>
              <a:off x="7321550" y="4538663"/>
              <a:ext cx="287338" cy="258763"/>
            </a:xfrm>
            <a:custGeom>
              <a:avLst/>
              <a:gdLst>
                <a:gd name="T0" fmla="*/ 48 w 113"/>
                <a:gd name="T1" fmla="*/ 6 h 102"/>
                <a:gd name="T2" fmla="*/ 48 w 113"/>
                <a:gd name="T3" fmla="*/ 0 h 102"/>
                <a:gd name="T4" fmla="*/ 76 w 113"/>
                <a:gd name="T5" fmla="*/ 49 h 102"/>
                <a:gd name="T6" fmla="*/ 109 w 113"/>
                <a:gd name="T7" fmla="*/ 85 h 102"/>
                <a:gd name="T8" fmla="*/ 74 w 113"/>
                <a:gd name="T9" fmla="*/ 100 h 102"/>
                <a:gd name="T10" fmla="*/ 34 w 113"/>
                <a:gd name="T11" fmla="*/ 79 h 102"/>
                <a:gd name="T12" fmla="*/ 19 w 113"/>
                <a:gd name="T13" fmla="*/ 55 h 102"/>
                <a:gd name="T14" fmla="*/ 1 w 113"/>
                <a:gd name="T15" fmla="*/ 34 h 102"/>
                <a:gd name="T16" fmla="*/ 3 w 113"/>
                <a:gd name="T17" fmla="*/ 14 h 102"/>
                <a:gd name="T18" fmla="*/ 9 w 113"/>
                <a:gd name="T19" fmla="*/ 0 h 102"/>
                <a:gd name="T20" fmla="*/ 9 w 113"/>
                <a:gd name="T21" fmla="*/ 5 h 102"/>
                <a:gd name="T22" fmla="*/ 29 w 113"/>
                <a:gd name="T23" fmla="*/ 11 h 102"/>
                <a:gd name="T24" fmla="*/ 48 w 113"/>
                <a:gd name="T25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102">
                  <a:moveTo>
                    <a:pt x="48" y="6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0" y="7"/>
                    <a:pt x="60" y="35"/>
                    <a:pt x="76" y="49"/>
                  </a:cubicBezTo>
                  <a:cubicBezTo>
                    <a:pt x="88" y="60"/>
                    <a:pt x="104" y="73"/>
                    <a:pt x="109" y="85"/>
                  </a:cubicBezTo>
                  <a:cubicBezTo>
                    <a:pt x="113" y="98"/>
                    <a:pt x="86" y="102"/>
                    <a:pt x="74" y="100"/>
                  </a:cubicBezTo>
                  <a:cubicBezTo>
                    <a:pt x="61" y="98"/>
                    <a:pt x="44" y="90"/>
                    <a:pt x="34" y="79"/>
                  </a:cubicBezTo>
                  <a:cubicBezTo>
                    <a:pt x="28" y="71"/>
                    <a:pt x="24" y="61"/>
                    <a:pt x="19" y="55"/>
                  </a:cubicBezTo>
                  <a:cubicBezTo>
                    <a:pt x="14" y="49"/>
                    <a:pt x="4" y="42"/>
                    <a:pt x="1" y="34"/>
                  </a:cubicBezTo>
                  <a:cubicBezTo>
                    <a:pt x="0" y="30"/>
                    <a:pt x="1" y="21"/>
                    <a:pt x="3" y="14"/>
                  </a:cubicBezTo>
                  <a:cubicBezTo>
                    <a:pt x="5" y="7"/>
                    <a:pt x="7" y="0"/>
                    <a:pt x="9" y="0"/>
                  </a:cubicBezTo>
                  <a:cubicBezTo>
                    <a:pt x="9" y="1"/>
                    <a:pt x="9" y="5"/>
                    <a:pt x="9" y="5"/>
                  </a:cubicBezTo>
                  <a:cubicBezTo>
                    <a:pt x="12" y="8"/>
                    <a:pt x="20" y="11"/>
                    <a:pt x="29" y="11"/>
                  </a:cubicBezTo>
                  <a:cubicBezTo>
                    <a:pt x="34" y="11"/>
                    <a:pt x="48" y="10"/>
                    <a:pt x="48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iṧ1í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45C8AC1-B41A-4859-8F34-4E34AEAA2680}"/>
                </a:ext>
              </a:extLst>
            </p:cNvPr>
            <p:cNvSpPr/>
            <p:nvPr/>
          </p:nvSpPr>
          <p:spPr bwMode="auto">
            <a:xfrm>
              <a:off x="7345363" y="4460875"/>
              <a:ext cx="219075" cy="265113"/>
            </a:xfrm>
            <a:custGeom>
              <a:avLst/>
              <a:gdLst>
                <a:gd name="T0" fmla="*/ 78 w 87"/>
                <a:gd name="T1" fmla="*/ 90 h 105"/>
                <a:gd name="T2" fmla="*/ 67 w 87"/>
                <a:gd name="T3" fmla="*/ 80 h 105"/>
                <a:gd name="T4" fmla="*/ 43 w 87"/>
                <a:gd name="T5" fmla="*/ 42 h 105"/>
                <a:gd name="T6" fmla="*/ 39 w 87"/>
                <a:gd name="T7" fmla="*/ 22 h 105"/>
                <a:gd name="T8" fmla="*/ 39 w 87"/>
                <a:gd name="T9" fmla="*/ 0 h 105"/>
                <a:gd name="T10" fmla="*/ 0 w 87"/>
                <a:gd name="T11" fmla="*/ 0 h 105"/>
                <a:gd name="T12" fmla="*/ 0 w 87"/>
                <a:gd name="T13" fmla="*/ 35 h 105"/>
                <a:gd name="T14" fmla="*/ 0 w 87"/>
                <a:gd name="T15" fmla="*/ 35 h 105"/>
                <a:gd name="T16" fmla="*/ 0 w 87"/>
                <a:gd name="T17" fmla="*/ 35 h 105"/>
                <a:gd name="T18" fmla="*/ 0 w 87"/>
                <a:gd name="T19" fmla="*/ 36 h 105"/>
                <a:gd name="T20" fmla="*/ 0 w 87"/>
                <a:gd name="T21" fmla="*/ 37 h 105"/>
                <a:gd name="T22" fmla="*/ 30 w 87"/>
                <a:gd name="T23" fmla="*/ 80 h 105"/>
                <a:gd name="T24" fmla="*/ 65 w 87"/>
                <a:gd name="T25" fmla="*/ 103 h 105"/>
                <a:gd name="T26" fmla="*/ 78 w 87"/>
                <a:gd name="T2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05">
                  <a:moveTo>
                    <a:pt x="78" y="90"/>
                  </a:moveTo>
                  <a:cubicBezTo>
                    <a:pt x="74" y="86"/>
                    <a:pt x="70" y="83"/>
                    <a:pt x="67" y="80"/>
                  </a:cubicBezTo>
                  <a:cubicBezTo>
                    <a:pt x="56" y="70"/>
                    <a:pt x="48" y="53"/>
                    <a:pt x="43" y="42"/>
                  </a:cubicBezTo>
                  <a:cubicBezTo>
                    <a:pt x="40" y="36"/>
                    <a:pt x="39" y="29"/>
                    <a:pt x="39" y="22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45"/>
                    <a:pt x="20" y="66"/>
                    <a:pt x="30" y="80"/>
                  </a:cubicBezTo>
                  <a:cubicBezTo>
                    <a:pt x="37" y="89"/>
                    <a:pt x="50" y="101"/>
                    <a:pt x="65" y="103"/>
                  </a:cubicBezTo>
                  <a:cubicBezTo>
                    <a:pt x="80" y="105"/>
                    <a:pt x="87" y="101"/>
                    <a:pt x="78" y="90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is1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0D35800-7719-41EA-81ED-D706EC3585E5}"/>
                </a:ext>
              </a:extLst>
            </p:cNvPr>
            <p:cNvSpPr/>
            <p:nvPr/>
          </p:nvSpPr>
          <p:spPr bwMode="auto">
            <a:xfrm>
              <a:off x="6942138" y="3105150"/>
              <a:ext cx="549275" cy="1492250"/>
            </a:xfrm>
            <a:custGeom>
              <a:avLst/>
              <a:gdLst>
                <a:gd name="T0" fmla="*/ 30 w 217"/>
                <a:gd name="T1" fmla="*/ 10 h 590"/>
                <a:gd name="T2" fmla="*/ 32 w 217"/>
                <a:gd name="T3" fmla="*/ 306 h 590"/>
                <a:gd name="T4" fmla="*/ 14 w 217"/>
                <a:gd name="T5" fmla="*/ 384 h 590"/>
                <a:gd name="T6" fmla="*/ 22 w 217"/>
                <a:gd name="T7" fmla="*/ 578 h 590"/>
                <a:gd name="T8" fmla="*/ 61 w 217"/>
                <a:gd name="T9" fmla="*/ 580 h 590"/>
                <a:gd name="T10" fmla="*/ 105 w 217"/>
                <a:gd name="T11" fmla="*/ 316 h 590"/>
                <a:gd name="T12" fmla="*/ 123 w 217"/>
                <a:gd name="T13" fmla="*/ 163 h 590"/>
                <a:gd name="T14" fmla="*/ 142 w 217"/>
                <a:gd name="T15" fmla="*/ 316 h 590"/>
                <a:gd name="T16" fmla="*/ 131 w 217"/>
                <a:gd name="T17" fmla="*/ 363 h 590"/>
                <a:gd name="T18" fmla="*/ 159 w 217"/>
                <a:gd name="T19" fmla="*/ 546 h 590"/>
                <a:gd name="T20" fmla="*/ 198 w 217"/>
                <a:gd name="T21" fmla="*/ 547 h 590"/>
                <a:gd name="T22" fmla="*/ 212 w 217"/>
                <a:gd name="T23" fmla="*/ 308 h 590"/>
                <a:gd name="T24" fmla="*/ 202 w 217"/>
                <a:gd name="T25" fmla="*/ 0 h 590"/>
                <a:gd name="T26" fmla="*/ 30 w 217"/>
                <a:gd name="T27" fmla="*/ 1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590">
                  <a:moveTo>
                    <a:pt x="30" y="10"/>
                  </a:moveTo>
                  <a:cubicBezTo>
                    <a:pt x="0" y="75"/>
                    <a:pt x="32" y="306"/>
                    <a:pt x="32" y="306"/>
                  </a:cubicBezTo>
                  <a:cubicBezTo>
                    <a:pt x="31" y="317"/>
                    <a:pt x="19" y="338"/>
                    <a:pt x="14" y="384"/>
                  </a:cubicBezTo>
                  <a:cubicBezTo>
                    <a:pt x="9" y="440"/>
                    <a:pt x="22" y="578"/>
                    <a:pt x="22" y="578"/>
                  </a:cubicBezTo>
                  <a:cubicBezTo>
                    <a:pt x="22" y="578"/>
                    <a:pt x="40" y="590"/>
                    <a:pt x="61" y="580"/>
                  </a:cubicBezTo>
                  <a:cubicBezTo>
                    <a:pt x="61" y="580"/>
                    <a:pt x="98" y="371"/>
                    <a:pt x="105" y="316"/>
                  </a:cubicBezTo>
                  <a:cubicBezTo>
                    <a:pt x="111" y="268"/>
                    <a:pt x="123" y="163"/>
                    <a:pt x="123" y="163"/>
                  </a:cubicBezTo>
                  <a:cubicBezTo>
                    <a:pt x="142" y="316"/>
                    <a:pt x="142" y="316"/>
                    <a:pt x="142" y="316"/>
                  </a:cubicBezTo>
                  <a:cubicBezTo>
                    <a:pt x="142" y="316"/>
                    <a:pt x="133" y="343"/>
                    <a:pt x="131" y="363"/>
                  </a:cubicBezTo>
                  <a:cubicBezTo>
                    <a:pt x="128" y="395"/>
                    <a:pt x="159" y="546"/>
                    <a:pt x="159" y="546"/>
                  </a:cubicBezTo>
                  <a:cubicBezTo>
                    <a:pt x="159" y="546"/>
                    <a:pt x="173" y="551"/>
                    <a:pt x="198" y="547"/>
                  </a:cubicBezTo>
                  <a:cubicBezTo>
                    <a:pt x="198" y="547"/>
                    <a:pt x="209" y="347"/>
                    <a:pt x="212" y="308"/>
                  </a:cubicBezTo>
                  <a:cubicBezTo>
                    <a:pt x="217" y="243"/>
                    <a:pt x="214" y="39"/>
                    <a:pt x="202" y="0"/>
                  </a:cubicBezTo>
                  <a:cubicBezTo>
                    <a:pt x="30" y="10"/>
                    <a:pt x="30" y="10"/>
                    <a:pt x="30" y="10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íš1ï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C5F0B4-0B5F-4AFB-8F25-1AA3F19E4B4A}"/>
                </a:ext>
              </a:extLst>
            </p:cNvPr>
            <p:cNvSpPr/>
            <p:nvPr/>
          </p:nvSpPr>
          <p:spPr bwMode="auto">
            <a:xfrm>
              <a:off x="6975475" y="3113088"/>
              <a:ext cx="508000" cy="1468438"/>
            </a:xfrm>
            <a:custGeom>
              <a:avLst/>
              <a:gdLst>
                <a:gd name="T0" fmla="*/ 127 w 201"/>
                <a:gd name="T1" fmla="*/ 303 h 581"/>
                <a:gd name="T2" fmla="*/ 110 w 201"/>
                <a:gd name="T3" fmla="*/ 160 h 581"/>
                <a:gd name="T4" fmla="*/ 120 w 201"/>
                <a:gd name="T5" fmla="*/ 99 h 581"/>
                <a:gd name="T6" fmla="*/ 179 w 201"/>
                <a:gd name="T7" fmla="*/ 73 h 581"/>
                <a:gd name="T8" fmla="*/ 131 w 201"/>
                <a:gd name="T9" fmla="*/ 105 h 581"/>
                <a:gd name="T10" fmla="*/ 120 w 201"/>
                <a:gd name="T11" fmla="*/ 152 h 581"/>
                <a:gd name="T12" fmla="*/ 127 w 201"/>
                <a:gd name="T13" fmla="*/ 303 h 581"/>
                <a:gd name="T14" fmla="*/ 187 w 201"/>
                <a:gd name="T15" fmla="*/ 0 h 581"/>
                <a:gd name="T16" fmla="*/ 100 w 201"/>
                <a:gd name="T17" fmla="*/ 28 h 581"/>
                <a:gd name="T18" fmla="*/ 17 w 201"/>
                <a:gd name="T19" fmla="*/ 7 h 581"/>
                <a:gd name="T20" fmla="*/ 17 w 201"/>
                <a:gd name="T21" fmla="*/ 7 h 581"/>
                <a:gd name="T22" fmla="*/ 14 w 201"/>
                <a:gd name="T23" fmla="*/ 18 h 581"/>
                <a:gd name="T24" fmla="*/ 4 w 201"/>
                <a:gd name="T25" fmla="*/ 110 h 581"/>
                <a:gd name="T26" fmla="*/ 19 w 201"/>
                <a:gd name="T27" fmla="*/ 303 h 581"/>
                <a:gd name="T28" fmla="*/ 19 w 201"/>
                <a:gd name="T29" fmla="*/ 303 h 581"/>
                <a:gd name="T30" fmla="*/ 19 w 201"/>
                <a:gd name="T31" fmla="*/ 303 h 581"/>
                <a:gd name="T32" fmla="*/ 1 w 201"/>
                <a:gd name="T33" fmla="*/ 381 h 581"/>
                <a:gd name="T34" fmla="*/ 0 w 201"/>
                <a:gd name="T35" fmla="*/ 414 h 581"/>
                <a:gd name="T36" fmla="*/ 9 w 201"/>
                <a:gd name="T37" fmla="*/ 575 h 581"/>
                <a:gd name="T38" fmla="*/ 31 w 201"/>
                <a:gd name="T39" fmla="*/ 581 h 581"/>
                <a:gd name="T40" fmla="*/ 48 w 201"/>
                <a:gd name="T41" fmla="*/ 577 h 581"/>
                <a:gd name="T42" fmla="*/ 92 w 201"/>
                <a:gd name="T43" fmla="*/ 313 h 581"/>
                <a:gd name="T44" fmla="*/ 110 w 201"/>
                <a:gd name="T45" fmla="*/ 160 h 581"/>
                <a:gd name="T46" fmla="*/ 129 w 201"/>
                <a:gd name="T47" fmla="*/ 313 h 581"/>
                <a:gd name="T48" fmla="*/ 129 w 201"/>
                <a:gd name="T49" fmla="*/ 313 h 581"/>
                <a:gd name="T50" fmla="*/ 118 w 201"/>
                <a:gd name="T51" fmla="*/ 360 h 581"/>
                <a:gd name="T52" fmla="*/ 118 w 201"/>
                <a:gd name="T53" fmla="*/ 366 h 581"/>
                <a:gd name="T54" fmla="*/ 146 w 201"/>
                <a:gd name="T55" fmla="*/ 543 h 581"/>
                <a:gd name="T56" fmla="*/ 167 w 201"/>
                <a:gd name="T57" fmla="*/ 545 h 581"/>
                <a:gd name="T58" fmla="*/ 185 w 201"/>
                <a:gd name="T59" fmla="*/ 544 h 581"/>
                <a:gd name="T60" fmla="*/ 199 w 201"/>
                <a:gd name="T61" fmla="*/ 305 h 581"/>
                <a:gd name="T62" fmla="*/ 201 w 201"/>
                <a:gd name="T63" fmla="*/ 216 h 581"/>
                <a:gd name="T64" fmla="*/ 196 w 201"/>
                <a:gd name="T65" fmla="*/ 54 h 581"/>
                <a:gd name="T66" fmla="*/ 172 w 201"/>
                <a:gd name="T67" fmla="*/ 62 h 581"/>
                <a:gd name="T68" fmla="*/ 187 w 201"/>
                <a:gd name="T69" fmla="*/ 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1" h="581">
                  <a:moveTo>
                    <a:pt x="127" y="303"/>
                  </a:moveTo>
                  <a:cubicBezTo>
                    <a:pt x="110" y="160"/>
                    <a:pt x="110" y="160"/>
                    <a:pt x="110" y="160"/>
                  </a:cubicBezTo>
                  <a:cubicBezTo>
                    <a:pt x="120" y="99"/>
                    <a:pt x="120" y="99"/>
                    <a:pt x="120" y="99"/>
                  </a:cubicBezTo>
                  <a:cubicBezTo>
                    <a:pt x="120" y="99"/>
                    <a:pt x="161" y="90"/>
                    <a:pt x="179" y="73"/>
                  </a:cubicBezTo>
                  <a:cubicBezTo>
                    <a:pt x="179" y="73"/>
                    <a:pt x="160" y="97"/>
                    <a:pt x="131" y="105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127" y="303"/>
                    <a:pt x="127" y="303"/>
                    <a:pt x="127" y="303"/>
                  </a:cubicBezTo>
                  <a:moveTo>
                    <a:pt x="187" y="0"/>
                  </a:moveTo>
                  <a:cubicBezTo>
                    <a:pt x="173" y="15"/>
                    <a:pt x="139" y="28"/>
                    <a:pt x="100" y="28"/>
                  </a:cubicBezTo>
                  <a:cubicBezTo>
                    <a:pt x="73" y="28"/>
                    <a:pt x="44" y="22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10"/>
                    <a:pt x="15" y="14"/>
                    <a:pt x="14" y="18"/>
                  </a:cubicBezTo>
                  <a:cubicBezTo>
                    <a:pt x="7" y="40"/>
                    <a:pt x="4" y="73"/>
                    <a:pt x="4" y="110"/>
                  </a:cubicBezTo>
                  <a:cubicBezTo>
                    <a:pt x="4" y="198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8" y="314"/>
                    <a:pt x="6" y="335"/>
                    <a:pt x="1" y="381"/>
                  </a:cubicBezTo>
                  <a:cubicBezTo>
                    <a:pt x="0" y="390"/>
                    <a:pt x="0" y="402"/>
                    <a:pt x="0" y="414"/>
                  </a:cubicBezTo>
                  <a:cubicBezTo>
                    <a:pt x="0" y="478"/>
                    <a:pt x="9" y="575"/>
                    <a:pt x="9" y="575"/>
                  </a:cubicBezTo>
                  <a:cubicBezTo>
                    <a:pt x="9" y="575"/>
                    <a:pt x="18" y="581"/>
                    <a:pt x="31" y="581"/>
                  </a:cubicBezTo>
                  <a:cubicBezTo>
                    <a:pt x="36" y="581"/>
                    <a:pt x="42" y="580"/>
                    <a:pt x="48" y="577"/>
                  </a:cubicBezTo>
                  <a:cubicBezTo>
                    <a:pt x="48" y="577"/>
                    <a:pt x="85" y="368"/>
                    <a:pt x="92" y="313"/>
                  </a:cubicBezTo>
                  <a:cubicBezTo>
                    <a:pt x="98" y="265"/>
                    <a:pt x="110" y="160"/>
                    <a:pt x="110" y="160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0" y="340"/>
                    <a:pt x="118" y="360"/>
                  </a:cubicBezTo>
                  <a:cubicBezTo>
                    <a:pt x="118" y="362"/>
                    <a:pt x="118" y="363"/>
                    <a:pt x="118" y="366"/>
                  </a:cubicBezTo>
                  <a:cubicBezTo>
                    <a:pt x="118" y="406"/>
                    <a:pt x="146" y="543"/>
                    <a:pt x="146" y="543"/>
                  </a:cubicBezTo>
                  <a:cubicBezTo>
                    <a:pt x="146" y="543"/>
                    <a:pt x="153" y="545"/>
                    <a:pt x="167" y="545"/>
                  </a:cubicBezTo>
                  <a:cubicBezTo>
                    <a:pt x="172" y="545"/>
                    <a:pt x="178" y="545"/>
                    <a:pt x="185" y="544"/>
                  </a:cubicBezTo>
                  <a:cubicBezTo>
                    <a:pt x="185" y="544"/>
                    <a:pt x="196" y="344"/>
                    <a:pt x="199" y="305"/>
                  </a:cubicBezTo>
                  <a:cubicBezTo>
                    <a:pt x="200" y="286"/>
                    <a:pt x="201" y="253"/>
                    <a:pt x="201" y="216"/>
                  </a:cubicBezTo>
                  <a:cubicBezTo>
                    <a:pt x="201" y="163"/>
                    <a:pt x="200" y="100"/>
                    <a:pt x="196" y="54"/>
                  </a:cubicBezTo>
                  <a:cubicBezTo>
                    <a:pt x="172" y="62"/>
                    <a:pt x="172" y="62"/>
                    <a:pt x="172" y="62"/>
                  </a:cubicBezTo>
                  <a:cubicBezTo>
                    <a:pt x="187" y="0"/>
                    <a:pt x="187" y="0"/>
                    <a:pt x="187" y="0"/>
                  </a:cubicBezTo>
                </a:path>
              </a:pathLst>
            </a:custGeom>
            <a:solidFill>
              <a:srgbClr val="0C4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ïsḷî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5BE83B-A5D7-467C-A7EE-08CF6407E537}"/>
                </a:ext>
              </a:extLst>
            </p:cNvPr>
            <p:cNvSpPr/>
            <p:nvPr/>
          </p:nvSpPr>
          <p:spPr bwMode="auto">
            <a:xfrm>
              <a:off x="7253288" y="3297238"/>
              <a:ext cx="174625" cy="581025"/>
            </a:xfrm>
            <a:custGeom>
              <a:avLst/>
              <a:gdLst>
                <a:gd name="T0" fmla="*/ 69 w 69"/>
                <a:gd name="T1" fmla="*/ 0 h 230"/>
                <a:gd name="T2" fmla="*/ 10 w 69"/>
                <a:gd name="T3" fmla="*/ 26 h 230"/>
                <a:gd name="T4" fmla="*/ 0 w 69"/>
                <a:gd name="T5" fmla="*/ 87 h 230"/>
                <a:gd name="T6" fmla="*/ 17 w 69"/>
                <a:gd name="T7" fmla="*/ 230 h 230"/>
                <a:gd name="T8" fmla="*/ 10 w 69"/>
                <a:gd name="T9" fmla="*/ 79 h 230"/>
                <a:gd name="T10" fmla="*/ 21 w 69"/>
                <a:gd name="T11" fmla="*/ 32 h 230"/>
                <a:gd name="T12" fmla="*/ 69 w 69"/>
                <a:gd name="T1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230">
                  <a:moveTo>
                    <a:pt x="69" y="0"/>
                  </a:moveTo>
                  <a:cubicBezTo>
                    <a:pt x="51" y="17"/>
                    <a:pt x="10" y="26"/>
                    <a:pt x="10" y="2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50" y="24"/>
                    <a:pt x="69" y="0"/>
                    <a:pt x="69" y="0"/>
                  </a:cubicBezTo>
                </a:path>
              </a:pathLst>
            </a:custGeom>
            <a:solidFill>
              <a:srgbClr val="082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ïś1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7D30018-FAFB-4EF3-B1EA-ED2ACB002B55}"/>
                </a:ext>
              </a:extLst>
            </p:cNvPr>
            <p:cNvSpPr/>
            <p:nvPr/>
          </p:nvSpPr>
          <p:spPr bwMode="auto">
            <a:xfrm>
              <a:off x="7005638" y="2552700"/>
              <a:ext cx="465138" cy="671513"/>
            </a:xfrm>
            <a:custGeom>
              <a:avLst/>
              <a:gdLst>
                <a:gd name="T0" fmla="*/ 58 w 184"/>
                <a:gd name="T1" fmla="*/ 1 h 266"/>
                <a:gd name="T2" fmla="*/ 35 w 184"/>
                <a:gd name="T3" fmla="*/ 3 h 266"/>
                <a:gd name="T4" fmla="*/ 8 w 184"/>
                <a:gd name="T5" fmla="*/ 43 h 266"/>
                <a:gd name="T6" fmla="*/ 6 w 184"/>
                <a:gd name="T7" fmla="*/ 92 h 266"/>
                <a:gd name="T8" fmla="*/ 33 w 184"/>
                <a:gd name="T9" fmla="*/ 170 h 266"/>
                <a:gd name="T10" fmla="*/ 5 w 184"/>
                <a:gd name="T11" fmla="*/ 229 h 266"/>
                <a:gd name="T12" fmla="*/ 177 w 184"/>
                <a:gd name="T13" fmla="*/ 219 h 266"/>
                <a:gd name="T14" fmla="*/ 169 w 184"/>
                <a:gd name="T15" fmla="*/ 138 h 266"/>
                <a:gd name="T16" fmla="*/ 179 w 184"/>
                <a:gd name="T17" fmla="*/ 70 h 266"/>
                <a:gd name="T18" fmla="*/ 127 w 184"/>
                <a:gd name="T19" fmla="*/ 0 h 266"/>
                <a:gd name="T20" fmla="*/ 58 w 184"/>
                <a:gd name="T21" fmla="*/ 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266">
                  <a:moveTo>
                    <a:pt x="58" y="1"/>
                  </a:moveTo>
                  <a:cubicBezTo>
                    <a:pt x="47" y="2"/>
                    <a:pt x="43" y="2"/>
                    <a:pt x="35" y="3"/>
                  </a:cubicBezTo>
                  <a:cubicBezTo>
                    <a:pt x="18" y="4"/>
                    <a:pt x="14" y="29"/>
                    <a:pt x="8" y="43"/>
                  </a:cubicBezTo>
                  <a:cubicBezTo>
                    <a:pt x="0" y="58"/>
                    <a:pt x="0" y="76"/>
                    <a:pt x="6" y="92"/>
                  </a:cubicBezTo>
                  <a:cubicBezTo>
                    <a:pt x="33" y="170"/>
                    <a:pt x="33" y="170"/>
                    <a:pt x="33" y="170"/>
                  </a:cubicBezTo>
                  <a:cubicBezTo>
                    <a:pt x="33" y="170"/>
                    <a:pt x="20" y="200"/>
                    <a:pt x="5" y="229"/>
                  </a:cubicBezTo>
                  <a:cubicBezTo>
                    <a:pt x="73" y="266"/>
                    <a:pt x="157" y="247"/>
                    <a:pt x="177" y="219"/>
                  </a:cubicBezTo>
                  <a:cubicBezTo>
                    <a:pt x="178" y="214"/>
                    <a:pt x="173" y="168"/>
                    <a:pt x="169" y="138"/>
                  </a:cubicBezTo>
                  <a:cubicBezTo>
                    <a:pt x="181" y="109"/>
                    <a:pt x="184" y="90"/>
                    <a:pt x="179" y="70"/>
                  </a:cubicBezTo>
                  <a:cubicBezTo>
                    <a:pt x="170" y="34"/>
                    <a:pt x="137" y="0"/>
                    <a:pt x="127" y="0"/>
                  </a:cubicBezTo>
                  <a:cubicBezTo>
                    <a:pt x="58" y="1"/>
                    <a:pt x="58" y="1"/>
                    <a:pt x="58" y="1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îŝlï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F20D202-7A54-43A2-86CD-79321E8C5525}"/>
                </a:ext>
              </a:extLst>
            </p:cNvPr>
            <p:cNvSpPr/>
            <p:nvPr/>
          </p:nvSpPr>
          <p:spPr bwMode="auto">
            <a:xfrm>
              <a:off x="6992938" y="2147888"/>
              <a:ext cx="46038" cy="55563"/>
            </a:xfrm>
            <a:custGeom>
              <a:avLst/>
              <a:gdLst>
                <a:gd name="T0" fmla="*/ 6 w 18"/>
                <a:gd name="T1" fmla="*/ 0 h 22"/>
                <a:gd name="T2" fmla="*/ 18 w 18"/>
                <a:gd name="T3" fmla="*/ 18 h 22"/>
                <a:gd name="T4" fmla="*/ 3 w 18"/>
                <a:gd name="T5" fmla="*/ 15 h 22"/>
                <a:gd name="T6" fmla="*/ 6 w 1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2">
                  <a:moveTo>
                    <a:pt x="6" y="0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3" y="22"/>
                    <a:pt x="6" y="20"/>
                    <a:pt x="3" y="15"/>
                  </a:cubicBezTo>
                  <a:cubicBezTo>
                    <a:pt x="0" y="10"/>
                    <a:pt x="1" y="3"/>
                    <a:pt x="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ïSḷ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994D65-AF0E-45B6-82FA-1D8788B68FA3}"/>
                </a:ext>
              </a:extLst>
            </p:cNvPr>
            <p:cNvSpPr/>
            <p:nvPr/>
          </p:nvSpPr>
          <p:spPr bwMode="auto">
            <a:xfrm>
              <a:off x="6977063" y="2192338"/>
              <a:ext cx="55563" cy="33338"/>
            </a:xfrm>
            <a:custGeom>
              <a:avLst/>
              <a:gdLst>
                <a:gd name="T0" fmla="*/ 0 w 22"/>
                <a:gd name="T1" fmla="*/ 3 h 13"/>
                <a:gd name="T2" fmla="*/ 21 w 22"/>
                <a:gd name="T3" fmla="*/ 0 h 13"/>
                <a:gd name="T4" fmla="*/ 12 w 22"/>
                <a:gd name="T5" fmla="*/ 12 h 13"/>
                <a:gd name="T6" fmla="*/ 0 w 22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3">
                  <a:moveTo>
                    <a:pt x="0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2" y="6"/>
                    <a:pt x="18" y="12"/>
                    <a:pt x="12" y="12"/>
                  </a:cubicBezTo>
                  <a:cubicBezTo>
                    <a:pt x="6" y="13"/>
                    <a:pt x="1" y="9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îṧľi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FE19F70-2903-46E3-A462-463C8E184895}"/>
                </a:ext>
              </a:extLst>
            </p:cNvPr>
            <p:cNvSpPr/>
            <p:nvPr/>
          </p:nvSpPr>
          <p:spPr bwMode="auto">
            <a:xfrm>
              <a:off x="7069138" y="2162175"/>
              <a:ext cx="357188" cy="503238"/>
            </a:xfrm>
            <a:custGeom>
              <a:avLst/>
              <a:gdLst>
                <a:gd name="T0" fmla="*/ 121 w 141"/>
                <a:gd name="T1" fmla="*/ 1 h 199"/>
                <a:gd name="T2" fmla="*/ 140 w 141"/>
                <a:gd name="T3" fmla="*/ 77 h 199"/>
                <a:gd name="T4" fmla="*/ 119 w 141"/>
                <a:gd name="T5" fmla="*/ 130 h 199"/>
                <a:gd name="T6" fmla="*/ 87 w 141"/>
                <a:gd name="T7" fmla="*/ 130 h 199"/>
                <a:gd name="T8" fmla="*/ 87 w 141"/>
                <a:gd name="T9" fmla="*/ 155 h 199"/>
                <a:gd name="T10" fmla="*/ 103 w 141"/>
                <a:gd name="T11" fmla="*/ 185 h 199"/>
                <a:gd name="T12" fmla="*/ 63 w 141"/>
                <a:gd name="T13" fmla="*/ 188 h 199"/>
                <a:gd name="T14" fmla="*/ 36 w 141"/>
                <a:gd name="T15" fmla="*/ 160 h 199"/>
                <a:gd name="T16" fmla="*/ 36 w 141"/>
                <a:gd name="T17" fmla="*/ 101 h 199"/>
                <a:gd name="T18" fmla="*/ 14 w 141"/>
                <a:gd name="T19" fmla="*/ 104 h 199"/>
                <a:gd name="T20" fmla="*/ 8 w 141"/>
                <a:gd name="T21" fmla="*/ 64 h 199"/>
                <a:gd name="T22" fmla="*/ 37 w 141"/>
                <a:gd name="T23" fmla="*/ 69 h 199"/>
                <a:gd name="T24" fmla="*/ 57 w 141"/>
                <a:gd name="T25" fmla="*/ 17 h 199"/>
                <a:gd name="T26" fmla="*/ 121 w 141"/>
                <a:gd name="T27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199">
                  <a:moveTo>
                    <a:pt x="121" y="1"/>
                  </a:moveTo>
                  <a:cubicBezTo>
                    <a:pt x="130" y="6"/>
                    <a:pt x="141" y="29"/>
                    <a:pt x="140" y="77"/>
                  </a:cubicBezTo>
                  <a:cubicBezTo>
                    <a:pt x="139" y="118"/>
                    <a:pt x="126" y="128"/>
                    <a:pt x="119" y="130"/>
                  </a:cubicBezTo>
                  <a:cubicBezTo>
                    <a:pt x="113" y="133"/>
                    <a:pt x="100" y="132"/>
                    <a:pt x="87" y="130"/>
                  </a:cubicBezTo>
                  <a:cubicBezTo>
                    <a:pt x="87" y="155"/>
                    <a:pt x="87" y="155"/>
                    <a:pt x="87" y="155"/>
                  </a:cubicBezTo>
                  <a:cubicBezTo>
                    <a:pt x="87" y="155"/>
                    <a:pt x="105" y="174"/>
                    <a:pt x="103" y="185"/>
                  </a:cubicBezTo>
                  <a:cubicBezTo>
                    <a:pt x="102" y="196"/>
                    <a:pt x="79" y="199"/>
                    <a:pt x="63" y="188"/>
                  </a:cubicBezTo>
                  <a:cubicBezTo>
                    <a:pt x="47" y="177"/>
                    <a:pt x="36" y="160"/>
                    <a:pt x="36" y="160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6" y="101"/>
                    <a:pt x="28" y="113"/>
                    <a:pt x="14" y="104"/>
                  </a:cubicBezTo>
                  <a:cubicBezTo>
                    <a:pt x="1" y="94"/>
                    <a:pt x="0" y="72"/>
                    <a:pt x="8" y="64"/>
                  </a:cubicBezTo>
                  <a:cubicBezTo>
                    <a:pt x="16" y="56"/>
                    <a:pt x="33" y="58"/>
                    <a:pt x="37" y="69"/>
                  </a:cubicBezTo>
                  <a:cubicBezTo>
                    <a:pt x="37" y="69"/>
                    <a:pt x="57" y="54"/>
                    <a:pt x="57" y="17"/>
                  </a:cubicBezTo>
                  <a:cubicBezTo>
                    <a:pt x="57" y="1"/>
                    <a:pt x="99" y="0"/>
                    <a:pt x="121" y="1"/>
                  </a:cubicBezTo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îşl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2125718-9203-40B1-AFCA-6ADABAB545D0}"/>
                </a:ext>
              </a:extLst>
            </p:cNvPr>
            <p:cNvSpPr/>
            <p:nvPr/>
          </p:nvSpPr>
          <p:spPr bwMode="auto">
            <a:xfrm>
              <a:off x="7258050" y="2314575"/>
              <a:ext cx="25400" cy="26988"/>
            </a:xfrm>
            <a:custGeom>
              <a:avLst/>
              <a:gdLst>
                <a:gd name="T0" fmla="*/ 10 w 10"/>
                <a:gd name="T1" fmla="*/ 5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0 h 11"/>
                <a:gd name="T8" fmla="*/ 10 w 10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5"/>
                  </a:moveTo>
                  <a:cubicBezTo>
                    <a:pt x="10" y="8"/>
                    <a:pt x="8" y="11"/>
                    <a:pt x="5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iṣľí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298A47-80E5-43A7-9D3A-40B6BBCB7856}"/>
                </a:ext>
              </a:extLst>
            </p:cNvPr>
            <p:cNvSpPr/>
            <p:nvPr/>
          </p:nvSpPr>
          <p:spPr bwMode="auto">
            <a:xfrm>
              <a:off x="7296150" y="2420938"/>
              <a:ext cx="38100" cy="25400"/>
            </a:xfrm>
            <a:custGeom>
              <a:avLst/>
              <a:gdLst>
                <a:gd name="T0" fmla="*/ 1 w 15"/>
                <a:gd name="T1" fmla="*/ 0 h 10"/>
                <a:gd name="T2" fmla="*/ 15 w 15"/>
                <a:gd name="T3" fmla="*/ 4 h 10"/>
                <a:gd name="T4" fmla="*/ 6 w 15"/>
                <a:gd name="T5" fmla="*/ 9 h 10"/>
                <a:gd name="T6" fmla="*/ 1 w 15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" y="0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14" y="8"/>
                    <a:pt x="10" y="10"/>
                    <a:pt x="6" y="9"/>
                  </a:cubicBezTo>
                  <a:cubicBezTo>
                    <a:pt x="2" y="8"/>
                    <a:pt x="0" y="4"/>
                    <a:pt x="1" y="0"/>
                  </a:cubicBez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isḷî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E1E33EC-C82E-42E4-B362-BD9572572462}"/>
                </a:ext>
              </a:extLst>
            </p:cNvPr>
            <p:cNvSpPr/>
            <p:nvPr/>
          </p:nvSpPr>
          <p:spPr bwMode="auto">
            <a:xfrm>
              <a:off x="7235825" y="2268538"/>
              <a:ext cx="34925" cy="22225"/>
            </a:xfrm>
            <a:custGeom>
              <a:avLst/>
              <a:gdLst>
                <a:gd name="T0" fmla="*/ 14 w 14"/>
                <a:gd name="T1" fmla="*/ 5 h 9"/>
                <a:gd name="T2" fmla="*/ 2 w 14"/>
                <a:gd name="T3" fmla="*/ 9 h 9"/>
                <a:gd name="T4" fmla="*/ 5 w 14"/>
                <a:gd name="T5" fmla="*/ 1 h 9"/>
                <a:gd name="T6" fmla="*/ 14 w 14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14" y="5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8" y="0"/>
                    <a:pt x="12" y="1"/>
                    <a:pt x="14" y="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íṥļi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56004A9-5058-49D6-B6D3-EAFF08132EEA}"/>
                </a:ext>
              </a:extLst>
            </p:cNvPr>
            <p:cNvSpPr/>
            <p:nvPr/>
          </p:nvSpPr>
          <p:spPr bwMode="auto">
            <a:xfrm>
              <a:off x="7367588" y="2314575"/>
              <a:ext cx="25400" cy="26988"/>
            </a:xfrm>
            <a:custGeom>
              <a:avLst/>
              <a:gdLst>
                <a:gd name="T0" fmla="*/ 10 w 10"/>
                <a:gd name="T1" fmla="*/ 6 h 11"/>
                <a:gd name="T2" fmla="*/ 5 w 10"/>
                <a:gd name="T3" fmla="*/ 11 h 11"/>
                <a:gd name="T4" fmla="*/ 0 w 10"/>
                <a:gd name="T5" fmla="*/ 6 h 11"/>
                <a:gd name="T6" fmla="*/ 5 w 10"/>
                <a:gd name="T7" fmla="*/ 1 h 11"/>
                <a:gd name="T8" fmla="*/ 10 w 10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6"/>
                  </a:moveTo>
                  <a:cubicBezTo>
                    <a:pt x="10" y="9"/>
                    <a:pt x="8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1"/>
                    <a:pt x="5" y="1"/>
                  </a:cubicBezTo>
                  <a:cubicBezTo>
                    <a:pt x="7" y="0"/>
                    <a:pt x="10" y="3"/>
                    <a:pt x="10" y="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işl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55C704B-F371-49E6-B3D3-0956AD3A82E2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iṧl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9AA81D2-0632-414A-BEDA-F73B4AFD0A4B}"/>
                </a:ext>
              </a:extLst>
            </p:cNvPr>
            <p:cNvSpPr/>
            <p:nvPr/>
          </p:nvSpPr>
          <p:spPr bwMode="auto">
            <a:xfrm>
              <a:off x="7332663" y="2322513"/>
              <a:ext cx="42863" cy="77788"/>
            </a:xfrm>
            <a:custGeom>
              <a:avLst/>
              <a:gdLst>
                <a:gd name="T0" fmla="*/ 0 w 27"/>
                <a:gd name="T1" fmla="*/ 0 h 49"/>
                <a:gd name="T2" fmla="*/ 1 w 27"/>
                <a:gd name="T3" fmla="*/ 49 h 49"/>
                <a:gd name="T4" fmla="*/ 27 w 27"/>
                <a:gd name="T5" fmla="*/ 41 h 49"/>
                <a:gd name="T6" fmla="*/ 0 w 2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49">
                  <a:moveTo>
                    <a:pt x="0" y="0"/>
                  </a:moveTo>
                  <a:lnTo>
                    <a:pt x="1" y="49"/>
                  </a:lnTo>
                  <a:lnTo>
                    <a:pt x="27" y="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iSḻïḑ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DA2DC85-4A6A-446A-9264-26375C0736D4}"/>
                </a:ext>
              </a:extLst>
            </p:cNvPr>
            <p:cNvSpPr/>
            <p:nvPr/>
          </p:nvSpPr>
          <p:spPr bwMode="auto">
            <a:xfrm>
              <a:off x="7177088" y="2438400"/>
              <a:ext cx="112713" cy="73025"/>
            </a:xfrm>
            <a:custGeom>
              <a:avLst/>
              <a:gdLst>
                <a:gd name="T0" fmla="*/ 44 w 44"/>
                <a:gd name="T1" fmla="*/ 21 h 29"/>
                <a:gd name="T2" fmla="*/ 0 w 44"/>
                <a:gd name="T3" fmla="*/ 0 h 29"/>
                <a:gd name="T4" fmla="*/ 10 w 44"/>
                <a:gd name="T5" fmla="*/ 14 h 29"/>
                <a:gd name="T6" fmla="*/ 44 w 44"/>
                <a:gd name="T7" fmla="*/ 29 h 29"/>
                <a:gd name="T8" fmla="*/ 44 w 44"/>
                <a:gd name="T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9">
                  <a:moveTo>
                    <a:pt x="44" y="21"/>
                  </a:moveTo>
                  <a:cubicBezTo>
                    <a:pt x="31" y="19"/>
                    <a:pt x="4" y="11"/>
                    <a:pt x="0" y="0"/>
                  </a:cubicBezTo>
                  <a:cubicBezTo>
                    <a:pt x="0" y="0"/>
                    <a:pt x="2" y="7"/>
                    <a:pt x="10" y="14"/>
                  </a:cubicBezTo>
                  <a:cubicBezTo>
                    <a:pt x="18" y="21"/>
                    <a:pt x="44" y="29"/>
                    <a:pt x="44" y="29"/>
                  </a:cubicBezTo>
                  <a:lnTo>
                    <a:pt x="44" y="21"/>
                  </a:lnTo>
                  <a:close/>
                </a:path>
              </a:pathLst>
            </a:custGeom>
            <a:solidFill>
              <a:srgbClr val="F2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îṩļ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B55EC00-FED5-4C65-9A7D-5497E22C0426}"/>
                </a:ext>
              </a:extLst>
            </p:cNvPr>
            <p:cNvSpPr/>
            <p:nvPr/>
          </p:nvSpPr>
          <p:spPr bwMode="auto">
            <a:xfrm>
              <a:off x="7005638" y="2670175"/>
              <a:ext cx="377825" cy="531813"/>
            </a:xfrm>
            <a:custGeom>
              <a:avLst/>
              <a:gdLst>
                <a:gd name="T0" fmla="*/ 76 w 149"/>
                <a:gd name="T1" fmla="*/ 189 h 210"/>
                <a:gd name="T2" fmla="*/ 45 w 149"/>
                <a:gd name="T3" fmla="*/ 140 h 210"/>
                <a:gd name="T4" fmla="*/ 46 w 149"/>
                <a:gd name="T5" fmla="*/ 138 h 210"/>
                <a:gd name="T6" fmla="*/ 60 w 149"/>
                <a:gd name="T7" fmla="*/ 129 h 210"/>
                <a:gd name="T8" fmla="*/ 43 w 149"/>
                <a:gd name="T9" fmla="*/ 104 h 210"/>
                <a:gd name="T10" fmla="*/ 33 w 149"/>
                <a:gd name="T11" fmla="*/ 60 h 210"/>
                <a:gd name="T12" fmla="*/ 36 w 149"/>
                <a:gd name="T13" fmla="*/ 16 h 210"/>
                <a:gd name="T14" fmla="*/ 10 w 149"/>
                <a:gd name="T15" fmla="*/ 0 h 210"/>
                <a:gd name="T16" fmla="*/ 5 w 149"/>
                <a:gd name="T17" fmla="*/ 4 h 210"/>
                <a:gd name="T18" fmla="*/ 6 w 149"/>
                <a:gd name="T19" fmla="*/ 45 h 210"/>
                <a:gd name="T20" fmla="*/ 33 w 149"/>
                <a:gd name="T21" fmla="*/ 123 h 210"/>
                <a:gd name="T22" fmla="*/ 5 w 149"/>
                <a:gd name="T23" fmla="*/ 182 h 210"/>
                <a:gd name="T24" fmla="*/ 149 w 149"/>
                <a:gd name="T25" fmla="*/ 191 h 210"/>
                <a:gd name="T26" fmla="*/ 76 w 149"/>
                <a:gd name="T27" fmla="*/ 18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210">
                  <a:moveTo>
                    <a:pt x="76" y="189"/>
                  </a:moveTo>
                  <a:cubicBezTo>
                    <a:pt x="53" y="184"/>
                    <a:pt x="39" y="162"/>
                    <a:pt x="45" y="140"/>
                  </a:cubicBezTo>
                  <a:cubicBezTo>
                    <a:pt x="46" y="139"/>
                    <a:pt x="46" y="138"/>
                    <a:pt x="46" y="138"/>
                  </a:cubicBezTo>
                  <a:cubicBezTo>
                    <a:pt x="50" y="127"/>
                    <a:pt x="60" y="129"/>
                    <a:pt x="60" y="129"/>
                  </a:cubicBezTo>
                  <a:cubicBezTo>
                    <a:pt x="51" y="123"/>
                    <a:pt x="45" y="114"/>
                    <a:pt x="43" y="104"/>
                  </a:cubicBezTo>
                  <a:cubicBezTo>
                    <a:pt x="43" y="104"/>
                    <a:pt x="32" y="51"/>
                    <a:pt x="33" y="60"/>
                  </a:cubicBezTo>
                  <a:cubicBezTo>
                    <a:pt x="35" y="69"/>
                    <a:pt x="29" y="35"/>
                    <a:pt x="36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8" y="1"/>
                    <a:pt x="5" y="4"/>
                  </a:cubicBezTo>
                  <a:cubicBezTo>
                    <a:pt x="0" y="17"/>
                    <a:pt x="1" y="32"/>
                    <a:pt x="6" y="45"/>
                  </a:cubicBezTo>
                  <a:cubicBezTo>
                    <a:pt x="33" y="123"/>
                    <a:pt x="33" y="123"/>
                    <a:pt x="33" y="123"/>
                  </a:cubicBezTo>
                  <a:cubicBezTo>
                    <a:pt x="33" y="123"/>
                    <a:pt x="17" y="151"/>
                    <a:pt x="5" y="182"/>
                  </a:cubicBezTo>
                  <a:cubicBezTo>
                    <a:pt x="55" y="210"/>
                    <a:pt x="114" y="206"/>
                    <a:pt x="149" y="191"/>
                  </a:cubicBezTo>
                  <a:cubicBezTo>
                    <a:pt x="121" y="196"/>
                    <a:pt x="95" y="194"/>
                    <a:pt x="76" y="18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işḻ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07F1680-AA3E-4A66-8D29-8B4E43971F2A}"/>
                </a:ext>
              </a:extLst>
            </p:cNvPr>
            <p:cNvSpPr/>
            <p:nvPr/>
          </p:nvSpPr>
          <p:spPr bwMode="auto">
            <a:xfrm>
              <a:off x="6235700" y="2559050"/>
              <a:ext cx="903288" cy="463550"/>
            </a:xfrm>
            <a:custGeom>
              <a:avLst/>
              <a:gdLst>
                <a:gd name="T0" fmla="*/ 339 w 357"/>
                <a:gd name="T1" fmla="*/ 0 h 183"/>
                <a:gd name="T2" fmla="*/ 286 w 357"/>
                <a:gd name="T3" fmla="*/ 33 h 183"/>
                <a:gd name="T4" fmla="*/ 202 w 357"/>
                <a:gd name="T5" fmla="*/ 122 h 183"/>
                <a:gd name="T6" fmla="*/ 94 w 357"/>
                <a:gd name="T7" fmla="*/ 98 h 183"/>
                <a:gd name="T8" fmla="*/ 88 w 357"/>
                <a:gd name="T9" fmla="*/ 82 h 183"/>
                <a:gd name="T10" fmla="*/ 87 w 357"/>
                <a:gd name="T11" fmla="*/ 60 h 183"/>
                <a:gd name="T12" fmla="*/ 76 w 357"/>
                <a:gd name="T13" fmla="*/ 65 h 183"/>
                <a:gd name="T14" fmla="*/ 70 w 357"/>
                <a:gd name="T15" fmla="*/ 85 h 183"/>
                <a:gd name="T16" fmla="*/ 31 w 357"/>
                <a:gd name="T17" fmla="*/ 62 h 183"/>
                <a:gd name="T18" fmla="*/ 3 w 357"/>
                <a:gd name="T19" fmla="*/ 52 h 183"/>
                <a:gd name="T20" fmla="*/ 14 w 357"/>
                <a:gd name="T21" fmla="*/ 71 h 183"/>
                <a:gd name="T22" fmla="*/ 28 w 357"/>
                <a:gd name="T23" fmla="*/ 84 h 183"/>
                <a:gd name="T24" fmla="*/ 26 w 357"/>
                <a:gd name="T25" fmla="*/ 88 h 183"/>
                <a:gd name="T26" fmla="*/ 23 w 357"/>
                <a:gd name="T27" fmla="*/ 97 h 183"/>
                <a:gd name="T28" fmla="*/ 23 w 357"/>
                <a:gd name="T29" fmla="*/ 101 h 183"/>
                <a:gd name="T30" fmla="*/ 20 w 357"/>
                <a:gd name="T31" fmla="*/ 110 h 183"/>
                <a:gd name="T32" fmla="*/ 21 w 357"/>
                <a:gd name="T33" fmla="*/ 117 h 183"/>
                <a:gd name="T34" fmla="*/ 21 w 357"/>
                <a:gd name="T35" fmla="*/ 122 h 183"/>
                <a:gd name="T36" fmla="*/ 26 w 357"/>
                <a:gd name="T37" fmla="*/ 129 h 183"/>
                <a:gd name="T38" fmla="*/ 54 w 357"/>
                <a:gd name="T39" fmla="*/ 139 h 183"/>
                <a:gd name="T40" fmla="*/ 80 w 357"/>
                <a:gd name="T41" fmla="*/ 142 h 183"/>
                <a:gd name="T42" fmla="*/ 225 w 357"/>
                <a:gd name="T43" fmla="*/ 173 h 183"/>
                <a:gd name="T44" fmla="*/ 328 w 357"/>
                <a:gd name="T45" fmla="*/ 81 h 183"/>
                <a:gd name="T46" fmla="*/ 339 w 357"/>
                <a:gd name="T4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7" h="183">
                  <a:moveTo>
                    <a:pt x="339" y="0"/>
                  </a:moveTo>
                  <a:cubicBezTo>
                    <a:pt x="320" y="0"/>
                    <a:pt x="311" y="5"/>
                    <a:pt x="286" y="33"/>
                  </a:cubicBezTo>
                  <a:cubicBezTo>
                    <a:pt x="270" y="50"/>
                    <a:pt x="202" y="122"/>
                    <a:pt x="202" y="122"/>
                  </a:cubicBezTo>
                  <a:cubicBezTo>
                    <a:pt x="202" y="122"/>
                    <a:pt x="100" y="102"/>
                    <a:pt x="94" y="98"/>
                  </a:cubicBezTo>
                  <a:cubicBezTo>
                    <a:pt x="89" y="94"/>
                    <a:pt x="89" y="88"/>
                    <a:pt x="88" y="82"/>
                  </a:cubicBezTo>
                  <a:cubicBezTo>
                    <a:pt x="88" y="77"/>
                    <a:pt x="87" y="64"/>
                    <a:pt x="87" y="60"/>
                  </a:cubicBezTo>
                  <a:cubicBezTo>
                    <a:pt x="88" y="54"/>
                    <a:pt x="80" y="58"/>
                    <a:pt x="76" y="65"/>
                  </a:cubicBezTo>
                  <a:cubicBezTo>
                    <a:pt x="72" y="72"/>
                    <a:pt x="73" y="83"/>
                    <a:pt x="70" y="85"/>
                  </a:cubicBezTo>
                  <a:cubicBezTo>
                    <a:pt x="68" y="88"/>
                    <a:pt x="43" y="70"/>
                    <a:pt x="31" y="62"/>
                  </a:cubicBezTo>
                  <a:cubicBezTo>
                    <a:pt x="18" y="54"/>
                    <a:pt x="9" y="46"/>
                    <a:pt x="3" y="52"/>
                  </a:cubicBezTo>
                  <a:cubicBezTo>
                    <a:pt x="0" y="56"/>
                    <a:pt x="5" y="63"/>
                    <a:pt x="14" y="71"/>
                  </a:cubicBezTo>
                  <a:cubicBezTo>
                    <a:pt x="23" y="78"/>
                    <a:pt x="26" y="82"/>
                    <a:pt x="28" y="84"/>
                  </a:cubicBezTo>
                  <a:cubicBezTo>
                    <a:pt x="29" y="85"/>
                    <a:pt x="27" y="87"/>
                    <a:pt x="26" y="88"/>
                  </a:cubicBezTo>
                  <a:cubicBezTo>
                    <a:pt x="25" y="90"/>
                    <a:pt x="22" y="94"/>
                    <a:pt x="23" y="97"/>
                  </a:cubicBezTo>
                  <a:cubicBezTo>
                    <a:pt x="23" y="98"/>
                    <a:pt x="23" y="99"/>
                    <a:pt x="23" y="101"/>
                  </a:cubicBezTo>
                  <a:cubicBezTo>
                    <a:pt x="23" y="104"/>
                    <a:pt x="20" y="107"/>
                    <a:pt x="20" y="110"/>
                  </a:cubicBezTo>
                  <a:cubicBezTo>
                    <a:pt x="19" y="112"/>
                    <a:pt x="21" y="115"/>
                    <a:pt x="21" y="117"/>
                  </a:cubicBezTo>
                  <a:cubicBezTo>
                    <a:pt x="21" y="119"/>
                    <a:pt x="21" y="120"/>
                    <a:pt x="21" y="122"/>
                  </a:cubicBezTo>
                  <a:cubicBezTo>
                    <a:pt x="21" y="125"/>
                    <a:pt x="23" y="127"/>
                    <a:pt x="26" y="129"/>
                  </a:cubicBezTo>
                  <a:cubicBezTo>
                    <a:pt x="35" y="135"/>
                    <a:pt x="44" y="136"/>
                    <a:pt x="54" y="139"/>
                  </a:cubicBezTo>
                  <a:cubicBezTo>
                    <a:pt x="63" y="141"/>
                    <a:pt x="71" y="141"/>
                    <a:pt x="80" y="142"/>
                  </a:cubicBezTo>
                  <a:cubicBezTo>
                    <a:pt x="90" y="144"/>
                    <a:pt x="205" y="183"/>
                    <a:pt x="225" y="173"/>
                  </a:cubicBezTo>
                  <a:cubicBezTo>
                    <a:pt x="243" y="165"/>
                    <a:pt x="328" y="81"/>
                    <a:pt x="328" y="81"/>
                  </a:cubicBezTo>
                  <a:cubicBezTo>
                    <a:pt x="357" y="47"/>
                    <a:pt x="339" y="0"/>
                    <a:pt x="339" y="0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íŝḻí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3A00542-8EA4-4EC3-9EF8-97B616C20365}"/>
                </a:ext>
              </a:extLst>
            </p:cNvPr>
            <p:cNvSpPr/>
            <p:nvPr/>
          </p:nvSpPr>
          <p:spPr bwMode="auto">
            <a:xfrm>
              <a:off x="6883400" y="2549525"/>
              <a:ext cx="242888" cy="282575"/>
            </a:xfrm>
            <a:custGeom>
              <a:avLst/>
              <a:gdLst>
                <a:gd name="T0" fmla="*/ 89 w 96"/>
                <a:gd name="T1" fmla="*/ 3 h 112"/>
                <a:gd name="T2" fmla="*/ 49 w 96"/>
                <a:gd name="T3" fmla="*/ 14 h 112"/>
                <a:gd name="T4" fmla="*/ 0 w 96"/>
                <a:gd name="T5" fmla="*/ 64 h 112"/>
                <a:gd name="T6" fmla="*/ 47 w 96"/>
                <a:gd name="T7" fmla="*/ 112 h 112"/>
                <a:gd name="T8" fmla="*/ 83 w 96"/>
                <a:gd name="T9" fmla="*/ 76 h 112"/>
                <a:gd name="T10" fmla="*/ 89 w 96"/>
                <a:gd name="T11" fmla="*/ 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2">
                  <a:moveTo>
                    <a:pt x="89" y="3"/>
                  </a:moveTo>
                  <a:cubicBezTo>
                    <a:pt x="89" y="3"/>
                    <a:pt x="63" y="0"/>
                    <a:pt x="49" y="14"/>
                  </a:cubicBezTo>
                  <a:cubicBezTo>
                    <a:pt x="31" y="32"/>
                    <a:pt x="0" y="64"/>
                    <a:pt x="0" y="64"/>
                  </a:cubicBezTo>
                  <a:cubicBezTo>
                    <a:pt x="0" y="64"/>
                    <a:pt x="14" y="98"/>
                    <a:pt x="47" y="112"/>
                  </a:cubicBezTo>
                  <a:cubicBezTo>
                    <a:pt x="47" y="112"/>
                    <a:pt x="75" y="92"/>
                    <a:pt x="83" y="76"/>
                  </a:cubicBezTo>
                  <a:cubicBezTo>
                    <a:pt x="91" y="61"/>
                    <a:pt x="96" y="35"/>
                    <a:pt x="89" y="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iṥḷ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E9E055E-1850-430C-9DBC-71BED8FBD1FB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işḷ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26584FD-8850-4882-A61B-7734C5814C73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276 w 276"/>
                <a:gd name="T1" fmla="*/ 0 h 303"/>
                <a:gd name="T2" fmla="*/ 59 w 276"/>
                <a:gd name="T3" fmla="*/ 58 h 303"/>
                <a:gd name="T4" fmla="*/ 0 w 276"/>
                <a:gd name="T5" fmla="*/ 303 h 303"/>
                <a:gd name="T6" fmla="*/ 206 w 276"/>
                <a:gd name="T7" fmla="*/ 242 h 303"/>
                <a:gd name="T8" fmla="*/ 276 w 276"/>
                <a:gd name="T9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03">
                  <a:moveTo>
                    <a:pt x="276" y="0"/>
                  </a:moveTo>
                  <a:lnTo>
                    <a:pt x="59" y="58"/>
                  </a:lnTo>
                  <a:lnTo>
                    <a:pt x="0" y="303"/>
                  </a:lnTo>
                  <a:lnTo>
                    <a:pt x="206" y="242"/>
                  </a:lnTo>
                  <a:lnTo>
                    <a:pt x="2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iṩḻ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7609DA2-9E11-4A14-8610-43D70C7C4738}"/>
                </a:ext>
              </a:extLst>
            </p:cNvPr>
            <p:cNvSpPr/>
            <p:nvPr/>
          </p:nvSpPr>
          <p:spPr bwMode="auto">
            <a:xfrm>
              <a:off x="7410450" y="2789238"/>
              <a:ext cx="438150" cy="481013"/>
            </a:xfrm>
            <a:custGeom>
              <a:avLst/>
              <a:gdLst>
                <a:gd name="T0" fmla="*/ 135 w 173"/>
                <a:gd name="T1" fmla="*/ 124 h 190"/>
                <a:gd name="T2" fmla="*/ 111 w 173"/>
                <a:gd name="T3" fmla="*/ 109 h 190"/>
                <a:gd name="T4" fmla="*/ 138 w 173"/>
                <a:gd name="T5" fmla="*/ 121 h 190"/>
                <a:gd name="T6" fmla="*/ 137 w 173"/>
                <a:gd name="T7" fmla="*/ 124 h 190"/>
                <a:gd name="T8" fmla="*/ 135 w 173"/>
                <a:gd name="T9" fmla="*/ 124 h 190"/>
                <a:gd name="T10" fmla="*/ 74 w 173"/>
                <a:gd name="T11" fmla="*/ 40 h 190"/>
                <a:gd name="T12" fmla="*/ 75 w 173"/>
                <a:gd name="T13" fmla="*/ 34 h 190"/>
                <a:gd name="T14" fmla="*/ 95 w 173"/>
                <a:gd name="T15" fmla="*/ 24 h 190"/>
                <a:gd name="T16" fmla="*/ 115 w 173"/>
                <a:gd name="T17" fmla="*/ 19 h 190"/>
                <a:gd name="T18" fmla="*/ 128 w 173"/>
                <a:gd name="T19" fmla="*/ 17 h 190"/>
                <a:gd name="T20" fmla="*/ 133 w 173"/>
                <a:gd name="T21" fmla="*/ 19 h 190"/>
                <a:gd name="T22" fmla="*/ 132 w 173"/>
                <a:gd name="T23" fmla="*/ 25 h 190"/>
                <a:gd name="T24" fmla="*/ 74 w 173"/>
                <a:gd name="T25" fmla="*/ 40 h 190"/>
                <a:gd name="T26" fmla="*/ 173 w 173"/>
                <a:gd name="T27" fmla="*/ 0 h 190"/>
                <a:gd name="T28" fmla="*/ 87 w 173"/>
                <a:gd name="T29" fmla="*/ 23 h 190"/>
                <a:gd name="T30" fmla="*/ 37 w 173"/>
                <a:gd name="T31" fmla="*/ 36 h 190"/>
                <a:gd name="T32" fmla="*/ 36 w 173"/>
                <a:gd name="T33" fmla="*/ 40 h 190"/>
                <a:gd name="T34" fmla="*/ 17 w 173"/>
                <a:gd name="T35" fmla="*/ 119 h 190"/>
                <a:gd name="T36" fmla="*/ 15 w 173"/>
                <a:gd name="T37" fmla="*/ 128 h 190"/>
                <a:gd name="T38" fmla="*/ 0 w 173"/>
                <a:gd name="T39" fmla="*/ 190 h 190"/>
                <a:gd name="T40" fmla="*/ 129 w 173"/>
                <a:gd name="T41" fmla="*/ 152 h 190"/>
                <a:gd name="T42" fmla="*/ 173 w 173"/>
                <a:gd name="T43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3" h="190">
                  <a:moveTo>
                    <a:pt x="135" y="124"/>
                  </a:moveTo>
                  <a:cubicBezTo>
                    <a:pt x="121" y="124"/>
                    <a:pt x="113" y="112"/>
                    <a:pt x="111" y="109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7" y="124"/>
                    <a:pt x="137" y="124"/>
                    <a:pt x="137" y="124"/>
                  </a:cubicBezTo>
                  <a:cubicBezTo>
                    <a:pt x="136" y="124"/>
                    <a:pt x="136" y="124"/>
                    <a:pt x="135" y="124"/>
                  </a:cubicBezTo>
                  <a:moveTo>
                    <a:pt x="74" y="40"/>
                  </a:moveTo>
                  <a:cubicBezTo>
                    <a:pt x="75" y="34"/>
                    <a:pt x="75" y="34"/>
                    <a:pt x="75" y="34"/>
                  </a:cubicBezTo>
                  <a:cubicBezTo>
                    <a:pt x="76" y="32"/>
                    <a:pt x="85" y="27"/>
                    <a:pt x="95" y="24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20" y="18"/>
                    <a:pt x="125" y="17"/>
                    <a:pt x="128" y="17"/>
                  </a:cubicBezTo>
                  <a:cubicBezTo>
                    <a:pt x="131" y="17"/>
                    <a:pt x="133" y="18"/>
                    <a:pt x="133" y="19"/>
                  </a:cubicBezTo>
                  <a:cubicBezTo>
                    <a:pt x="132" y="22"/>
                    <a:pt x="132" y="25"/>
                    <a:pt x="132" y="25"/>
                  </a:cubicBezTo>
                  <a:cubicBezTo>
                    <a:pt x="74" y="40"/>
                    <a:pt x="74" y="40"/>
                    <a:pt x="74" y="40"/>
                  </a:cubicBezTo>
                  <a:moveTo>
                    <a:pt x="173" y="0"/>
                  </a:moveTo>
                  <a:cubicBezTo>
                    <a:pt x="87" y="23"/>
                    <a:pt x="87" y="23"/>
                    <a:pt x="87" y="23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73" y="0"/>
                    <a:pt x="173" y="0"/>
                    <a:pt x="173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6" name="îş1î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382A8F-50C0-415D-B970-4FA3F2EA0085}"/>
                </a:ext>
              </a:extLst>
            </p:cNvPr>
            <p:cNvSpPr/>
            <p:nvPr/>
          </p:nvSpPr>
          <p:spPr bwMode="auto">
            <a:xfrm>
              <a:off x="7691438" y="3065463"/>
              <a:ext cx="68263" cy="38100"/>
            </a:xfrm>
            <a:custGeom>
              <a:avLst/>
              <a:gdLst>
                <a:gd name="T0" fmla="*/ 0 w 27"/>
                <a:gd name="T1" fmla="*/ 0 h 15"/>
                <a:gd name="T2" fmla="*/ 24 w 27"/>
                <a:gd name="T3" fmla="*/ 15 h 15"/>
                <a:gd name="T4" fmla="*/ 26 w 27"/>
                <a:gd name="T5" fmla="*/ 15 h 15"/>
                <a:gd name="T6" fmla="*/ 27 w 27"/>
                <a:gd name="T7" fmla="*/ 12 h 15"/>
                <a:gd name="T8" fmla="*/ 0 w 2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0" y="0"/>
                  </a:moveTo>
                  <a:cubicBezTo>
                    <a:pt x="2" y="3"/>
                    <a:pt x="10" y="15"/>
                    <a:pt x="24" y="15"/>
                  </a:cubicBezTo>
                  <a:cubicBezTo>
                    <a:pt x="25" y="15"/>
                    <a:pt x="25" y="15"/>
                    <a:pt x="26" y="15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îṧ1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17C42FF-BF7A-4DCA-BBE4-E0C48FEFD338}"/>
                </a:ext>
              </a:extLst>
            </p:cNvPr>
            <p:cNvSpPr/>
            <p:nvPr/>
          </p:nvSpPr>
          <p:spPr bwMode="auto">
            <a:xfrm>
              <a:off x="7597775" y="2832100"/>
              <a:ext cx="149225" cy="58738"/>
            </a:xfrm>
            <a:custGeom>
              <a:avLst/>
              <a:gdLst>
                <a:gd name="T0" fmla="*/ 54 w 59"/>
                <a:gd name="T1" fmla="*/ 0 h 23"/>
                <a:gd name="T2" fmla="*/ 41 w 59"/>
                <a:gd name="T3" fmla="*/ 2 h 23"/>
                <a:gd name="T4" fmla="*/ 21 w 59"/>
                <a:gd name="T5" fmla="*/ 7 h 23"/>
                <a:gd name="T6" fmla="*/ 1 w 59"/>
                <a:gd name="T7" fmla="*/ 17 h 23"/>
                <a:gd name="T8" fmla="*/ 0 w 59"/>
                <a:gd name="T9" fmla="*/ 23 h 23"/>
                <a:gd name="T10" fmla="*/ 58 w 59"/>
                <a:gd name="T11" fmla="*/ 8 h 23"/>
                <a:gd name="T12" fmla="*/ 59 w 59"/>
                <a:gd name="T13" fmla="*/ 2 h 23"/>
                <a:gd name="T14" fmla="*/ 54 w 59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23">
                  <a:moveTo>
                    <a:pt x="54" y="0"/>
                  </a:moveTo>
                  <a:cubicBezTo>
                    <a:pt x="51" y="0"/>
                    <a:pt x="46" y="1"/>
                    <a:pt x="41" y="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1" y="10"/>
                    <a:pt x="2" y="15"/>
                    <a:pt x="1" y="1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5"/>
                    <a:pt x="59" y="2"/>
                  </a:cubicBezTo>
                  <a:cubicBezTo>
                    <a:pt x="59" y="1"/>
                    <a:pt x="57" y="0"/>
                    <a:pt x="54" y="0"/>
                  </a:cubicBezTo>
                </a:path>
              </a:pathLst>
            </a:custGeom>
            <a:solidFill>
              <a:srgbClr val="1A9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íšľi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A1163FE-DCD4-4F19-9417-8D1B772657B6}"/>
                </a:ext>
              </a:extLst>
            </p:cNvPr>
            <p:cNvSpPr/>
            <p:nvPr/>
          </p:nvSpPr>
          <p:spPr bwMode="auto">
            <a:xfrm>
              <a:off x="7593013" y="2776538"/>
              <a:ext cx="179388" cy="80963"/>
            </a:xfrm>
            <a:custGeom>
              <a:avLst/>
              <a:gdLst>
                <a:gd name="T0" fmla="*/ 70 w 71"/>
                <a:gd name="T1" fmla="*/ 10 h 32"/>
                <a:gd name="T2" fmla="*/ 63 w 71"/>
                <a:gd name="T3" fmla="*/ 9 h 32"/>
                <a:gd name="T4" fmla="*/ 55 w 71"/>
                <a:gd name="T5" fmla="*/ 11 h 32"/>
                <a:gd name="T6" fmla="*/ 40 w 71"/>
                <a:gd name="T7" fmla="*/ 4 h 32"/>
                <a:gd name="T8" fmla="*/ 19 w 71"/>
                <a:gd name="T9" fmla="*/ 21 h 32"/>
                <a:gd name="T10" fmla="*/ 10 w 71"/>
                <a:gd name="T11" fmla="*/ 23 h 32"/>
                <a:gd name="T12" fmla="*/ 1 w 71"/>
                <a:gd name="T13" fmla="*/ 29 h 32"/>
                <a:gd name="T14" fmla="*/ 0 w 71"/>
                <a:gd name="T15" fmla="*/ 32 h 32"/>
                <a:gd name="T16" fmla="*/ 70 w 71"/>
                <a:gd name="T17" fmla="*/ 13 h 32"/>
                <a:gd name="T18" fmla="*/ 70 w 71"/>
                <a:gd name="T1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32">
                  <a:moveTo>
                    <a:pt x="70" y="10"/>
                  </a:moveTo>
                  <a:cubicBezTo>
                    <a:pt x="71" y="8"/>
                    <a:pt x="67" y="8"/>
                    <a:pt x="63" y="9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1"/>
                    <a:pt x="58" y="0"/>
                    <a:pt x="40" y="4"/>
                  </a:cubicBezTo>
                  <a:cubicBezTo>
                    <a:pt x="22" y="8"/>
                    <a:pt x="19" y="21"/>
                    <a:pt x="19" y="21"/>
                  </a:cubicBezTo>
                  <a:cubicBezTo>
                    <a:pt x="19" y="21"/>
                    <a:pt x="15" y="22"/>
                    <a:pt x="10" y="23"/>
                  </a:cubicBezTo>
                  <a:cubicBezTo>
                    <a:pt x="5" y="24"/>
                    <a:pt x="1" y="27"/>
                    <a:pt x="1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2"/>
                    <a:pt x="70" y="10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ïṧlï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D921DA1-7777-4A85-B040-3871BF450CF9}"/>
                </a:ext>
              </a:extLst>
            </p:cNvPr>
            <p:cNvSpPr/>
            <p:nvPr/>
          </p:nvSpPr>
          <p:spPr bwMode="auto">
            <a:xfrm>
              <a:off x="7627938" y="2813050"/>
              <a:ext cx="125413" cy="61913"/>
            </a:xfrm>
            <a:custGeom>
              <a:avLst/>
              <a:gdLst>
                <a:gd name="T0" fmla="*/ 47 w 49"/>
                <a:gd name="T1" fmla="*/ 2 h 25"/>
                <a:gd name="T2" fmla="*/ 37 w 49"/>
                <a:gd name="T3" fmla="*/ 9 h 25"/>
                <a:gd name="T4" fmla="*/ 35 w 49"/>
                <a:gd name="T5" fmla="*/ 17 h 25"/>
                <a:gd name="T6" fmla="*/ 4 w 49"/>
                <a:gd name="T7" fmla="*/ 25 h 25"/>
                <a:gd name="T8" fmla="*/ 6 w 49"/>
                <a:gd name="T9" fmla="*/ 17 h 25"/>
                <a:gd name="T10" fmla="*/ 1 w 49"/>
                <a:gd name="T11" fmla="*/ 14 h 25"/>
                <a:gd name="T12" fmla="*/ 0 w 49"/>
                <a:gd name="T13" fmla="*/ 12 h 25"/>
                <a:gd name="T14" fmla="*/ 49 w 49"/>
                <a:gd name="T15" fmla="*/ 0 h 25"/>
                <a:gd name="T16" fmla="*/ 47 w 49"/>
                <a:gd name="T1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25">
                  <a:moveTo>
                    <a:pt x="47" y="2"/>
                  </a:moveTo>
                  <a:cubicBezTo>
                    <a:pt x="40" y="3"/>
                    <a:pt x="38" y="4"/>
                    <a:pt x="37" y="9"/>
                  </a:cubicBezTo>
                  <a:cubicBezTo>
                    <a:pt x="36" y="14"/>
                    <a:pt x="35" y="17"/>
                    <a:pt x="35" y="1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6" y="19"/>
                    <a:pt x="6" y="17"/>
                  </a:cubicBezTo>
                  <a:cubicBezTo>
                    <a:pt x="7" y="14"/>
                    <a:pt x="6" y="13"/>
                    <a:pt x="1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7" y="2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ïṣļ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3412704-DBC7-4702-A177-D2AE11A0A426}"/>
                </a:ext>
              </a:extLst>
            </p:cNvPr>
            <p:cNvSpPr/>
            <p:nvPr/>
          </p:nvSpPr>
          <p:spPr bwMode="auto">
            <a:xfrm>
              <a:off x="7602538" y="2832100"/>
              <a:ext cx="150813" cy="58738"/>
            </a:xfrm>
            <a:custGeom>
              <a:avLst/>
              <a:gdLst>
                <a:gd name="T0" fmla="*/ 58 w 59"/>
                <a:gd name="T1" fmla="*/ 8 h 23"/>
                <a:gd name="T2" fmla="*/ 59 w 59"/>
                <a:gd name="T3" fmla="*/ 3 h 23"/>
                <a:gd name="T4" fmla="*/ 41 w 59"/>
                <a:gd name="T5" fmla="*/ 3 h 23"/>
                <a:gd name="T6" fmla="*/ 21 w 59"/>
                <a:gd name="T7" fmla="*/ 8 h 23"/>
                <a:gd name="T8" fmla="*/ 1 w 59"/>
                <a:gd name="T9" fmla="*/ 18 h 23"/>
                <a:gd name="T10" fmla="*/ 0 w 59"/>
                <a:gd name="T11" fmla="*/ 23 h 23"/>
                <a:gd name="T12" fmla="*/ 58 w 59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3">
                  <a:moveTo>
                    <a:pt x="58" y="8"/>
                  </a:moveTo>
                  <a:cubicBezTo>
                    <a:pt x="58" y="8"/>
                    <a:pt x="58" y="6"/>
                    <a:pt x="59" y="3"/>
                  </a:cubicBezTo>
                  <a:cubicBezTo>
                    <a:pt x="59" y="0"/>
                    <a:pt x="51" y="0"/>
                    <a:pt x="41" y="3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1" y="11"/>
                    <a:pt x="2" y="15"/>
                    <a:pt x="1" y="18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8" y="8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îṡl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A346B7-D40E-4FA9-A61B-4F9375ED0B72}"/>
                </a:ext>
              </a:extLst>
            </p:cNvPr>
            <p:cNvSpPr/>
            <p:nvPr/>
          </p:nvSpPr>
          <p:spPr bwMode="auto">
            <a:xfrm>
              <a:off x="7677150" y="2900363"/>
              <a:ext cx="163513" cy="195263"/>
            </a:xfrm>
            <a:custGeom>
              <a:avLst/>
              <a:gdLst>
                <a:gd name="T0" fmla="*/ 53 w 65"/>
                <a:gd name="T1" fmla="*/ 6 h 77"/>
                <a:gd name="T2" fmla="*/ 47 w 65"/>
                <a:gd name="T3" fmla="*/ 27 h 77"/>
                <a:gd name="T4" fmla="*/ 21 w 65"/>
                <a:gd name="T5" fmla="*/ 41 h 77"/>
                <a:gd name="T6" fmla="*/ 5 w 65"/>
                <a:gd name="T7" fmla="*/ 61 h 77"/>
                <a:gd name="T8" fmla="*/ 34 w 65"/>
                <a:gd name="T9" fmla="*/ 77 h 77"/>
                <a:gd name="T10" fmla="*/ 58 w 65"/>
                <a:gd name="T11" fmla="*/ 56 h 77"/>
                <a:gd name="T12" fmla="*/ 63 w 65"/>
                <a:gd name="T13" fmla="*/ 12 h 77"/>
                <a:gd name="T14" fmla="*/ 53 w 65"/>
                <a:gd name="T15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77">
                  <a:moveTo>
                    <a:pt x="53" y="6"/>
                  </a:moveTo>
                  <a:cubicBezTo>
                    <a:pt x="53" y="6"/>
                    <a:pt x="48" y="23"/>
                    <a:pt x="47" y="27"/>
                  </a:cubicBezTo>
                  <a:cubicBezTo>
                    <a:pt x="46" y="31"/>
                    <a:pt x="31" y="39"/>
                    <a:pt x="21" y="41"/>
                  </a:cubicBezTo>
                  <a:cubicBezTo>
                    <a:pt x="11" y="44"/>
                    <a:pt x="0" y="47"/>
                    <a:pt x="5" y="61"/>
                  </a:cubicBezTo>
                  <a:cubicBezTo>
                    <a:pt x="9" y="74"/>
                    <a:pt x="25" y="77"/>
                    <a:pt x="34" y="77"/>
                  </a:cubicBezTo>
                  <a:cubicBezTo>
                    <a:pt x="42" y="76"/>
                    <a:pt x="54" y="68"/>
                    <a:pt x="58" y="56"/>
                  </a:cubicBezTo>
                  <a:cubicBezTo>
                    <a:pt x="64" y="39"/>
                    <a:pt x="61" y="22"/>
                    <a:pt x="63" y="12"/>
                  </a:cubicBezTo>
                  <a:cubicBezTo>
                    <a:pt x="65" y="2"/>
                    <a:pt x="58" y="0"/>
                    <a:pt x="53" y="6"/>
                  </a:cubicBezTo>
                  <a:close/>
                </a:path>
              </a:pathLst>
            </a:custGeom>
            <a:solidFill>
              <a:srgbClr val="FFA8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ïṥ1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8992AEF-31A9-42A8-BD0C-6CB9F6CB259A}"/>
                </a:ext>
              </a:extLst>
            </p:cNvPr>
            <p:cNvSpPr/>
            <p:nvPr/>
          </p:nvSpPr>
          <p:spPr bwMode="auto">
            <a:xfrm>
              <a:off x="7162800" y="2289175"/>
              <a:ext cx="31750" cy="90488"/>
            </a:xfrm>
            <a:custGeom>
              <a:avLst/>
              <a:gdLst>
                <a:gd name="T0" fmla="*/ 0 w 13"/>
                <a:gd name="T1" fmla="*/ 16 h 36"/>
                <a:gd name="T2" fmla="*/ 0 w 13"/>
                <a:gd name="T3" fmla="*/ 36 h 36"/>
                <a:gd name="T4" fmla="*/ 13 w 13"/>
                <a:gd name="T5" fmla="*/ 23 h 36"/>
                <a:gd name="T6" fmla="*/ 13 w 13"/>
                <a:gd name="T7" fmla="*/ 0 h 36"/>
                <a:gd name="T8" fmla="*/ 0 w 13"/>
                <a:gd name="T9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6">
                  <a:moveTo>
                    <a:pt x="0" y="1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7" y="36"/>
                    <a:pt x="13" y="30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îś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FFB3434-DDDA-4FE5-B5B5-959CA4420EB6}"/>
                </a:ext>
              </a:extLst>
            </p:cNvPr>
            <p:cNvSpPr/>
            <p:nvPr/>
          </p:nvSpPr>
          <p:spPr bwMode="auto">
            <a:xfrm>
              <a:off x="7154863" y="2092325"/>
              <a:ext cx="315913" cy="193675"/>
            </a:xfrm>
            <a:custGeom>
              <a:avLst/>
              <a:gdLst>
                <a:gd name="T0" fmla="*/ 57 w 125"/>
                <a:gd name="T1" fmla="*/ 0 h 77"/>
                <a:gd name="T2" fmla="*/ 57 w 125"/>
                <a:gd name="T3" fmla="*/ 0 h 77"/>
                <a:gd name="T4" fmla="*/ 125 w 125"/>
                <a:gd name="T5" fmla="*/ 68 h 77"/>
                <a:gd name="T6" fmla="*/ 125 w 125"/>
                <a:gd name="T7" fmla="*/ 77 h 77"/>
                <a:gd name="T8" fmla="*/ 92 w 125"/>
                <a:gd name="T9" fmla="*/ 77 h 77"/>
                <a:gd name="T10" fmla="*/ 61 w 125"/>
                <a:gd name="T11" fmla="*/ 50 h 77"/>
                <a:gd name="T12" fmla="*/ 60 w 125"/>
                <a:gd name="T13" fmla="*/ 77 h 77"/>
                <a:gd name="T14" fmla="*/ 36 w 125"/>
                <a:gd name="T15" fmla="*/ 54 h 77"/>
                <a:gd name="T16" fmla="*/ 35 w 125"/>
                <a:gd name="T17" fmla="*/ 50 h 77"/>
                <a:gd name="T18" fmla="*/ 6 w 125"/>
                <a:gd name="T19" fmla="*/ 77 h 77"/>
                <a:gd name="T20" fmla="*/ 3 w 125"/>
                <a:gd name="T21" fmla="*/ 77 h 77"/>
                <a:gd name="T22" fmla="*/ 0 w 125"/>
                <a:gd name="T23" fmla="*/ 29 h 77"/>
                <a:gd name="T24" fmla="*/ 57 w 125"/>
                <a:gd name="T2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" h="77">
                  <a:moveTo>
                    <a:pt x="57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95" y="0"/>
                    <a:pt x="125" y="30"/>
                    <a:pt x="125" y="68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77" y="77"/>
                    <a:pt x="63" y="65"/>
                    <a:pt x="61" y="50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47" y="77"/>
                    <a:pt x="37" y="67"/>
                    <a:pt x="36" y="54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65"/>
                    <a:pt x="21" y="77"/>
                    <a:pt x="6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íSḷ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4B08AF0-132C-4C84-8D4F-EA5107C3BF3A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 w 115"/>
                <a:gd name="T1" fmla="*/ 16 h 33"/>
                <a:gd name="T2" fmla="*/ 29 w 115"/>
                <a:gd name="T3" fmla="*/ 16 h 33"/>
                <a:gd name="T4" fmla="*/ 29 w 115"/>
                <a:gd name="T5" fmla="*/ 17 h 33"/>
                <a:gd name="T6" fmla="*/ 46 w 115"/>
                <a:gd name="T7" fmla="*/ 33 h 33"/>
                <a:gd name="T8" fmla="*/ 48 w 115"/>
                <a:gd name="T9" fmla="*/ 33 h 33"/>
                <a:gd name="T10" fmla="*/ 65 w 115"/>
                <a:gd name="T11" fmla="*/ 17 h 33"/>
                <a:gd name="T12" fmla="*/ 64 w 115"/>
                <a:gd name="T13" fmla="*/ 14 h 33"/>
                <a:gd name="T14" fmla="*/ 64 w 115"/>
                <a:gd name="T15" fmla="*/ 14 h 33"/>
                <a:gd name="T16" fmla="*/ 73 w 115"/>
                <a:gd name="T17" fmla="*/ 9 h 33"/>
                <a:gd name="T18" fmla="*/ 80 w 115"/>
                <a:gd name="T19" fmla="*/ 12 h 33"/>
                <a:gd name="T20" fmla="*/ 79 w 115"/>
                <a:gd name="T21" fmla="*/ 17 h 33"/>
                <a:gd name="T22" fmla="*/ 96 w 115"/>
                <a:gd name="T23" fmla="*/ 33 h 33"/>
                <a:gd name="T24" fmla="*/ 98 w 115"/>
                <a:gd name="T25" fmla="*/ 33 h 33"/>
                <a:gd name="T26" fmla="*/ 115 w 115"/>
                <a:gd name="T27" fmla="*/ 17 h 33"/>
                <a:gd name="T28" fmla="*/ 98 w 115"/>
                <a:gd name="T29" fmla="*/ 0 h 33"/>
                <a:gd name="T30" fmla="*/ 96 w 115"/>
                <a:gd name="T31" fmla="*/ 0 h 33"/>
                <a:gd name="T32" fmla="*/ 82 w 115"/>
                <a:gd name="T33" fmla="*/ 9 h 33"/>
                <a:gd name="T34" fmla="*/ 73 w 115"/>
                <a:gd name="T35" fmla="*/ 6 h 33"/>
                <a:gd name="T36" fmla="*/ 63 w 115"/>
                <a:gd name="T37" fmla="*/ 11 h 33"/>
                <a:gd name="T38" fmla="*/ 48 w 115"/>
                <a:gd name="T39" fmla="*/ 0 h 33"/>
                <a:gd name="T40" fmla="*/ 46 w 115"/>
                <a:gd name="T41" fmla="*/ 0 h 33"/>
                <a:gd name="T42" fmla="*/ 29 w 115"/>
                <a:gd name="T43" fmla="*/ 13 h 33"/>
                <a:gd name="T44" fmla="*/ 0 w 115"/>
                <a:gd name="T45" fmla="*/ 13 h 33"/>
                <a:gd name="T46" fmla="*/ 3 w 115"/>
                <a:gd name="T47" fmla="*/ 16 h 33"/>
                <a:gd name="T48" fmla="*/ 82 w 115"/>
                <a:gd name="T49" fmla="*/ 17 h 33"/>
                <a:gd name="T50" fmla="*/ 96 w 115"/>
                <a:gd name="T51" fmla="*/ 3 h 33"/>
                <a:gd name="T52" fmla="*/ 98 w 115"/>
                <a:gd name="T53" fmla="*/ 3 h 33"/>
                <a:gd name="T54" fmla="*/ 112 w 115"/>
                <a:gd name="T55" fmla="*/ 17 h 33"/>
                <a:gd name="T56" fmla="*/ 98 w 115"/>
                <a:gd name="T57" fmla="*/ 31 h 33"/>
                <a:gd name="T58" fmla="*/ 96 w 115"/>
                <a:gd name="T59" fmla="*/ 31 h 33"/>
                <a:gd name="T60" fmla="*/ 82 w 115"/>
                <a:gd name="T61" fmla="*/ 17 h 33"/>
                <a:gd name="T62" fmla="*/ 32 w 115"/>
                <a:gd name="T63" fmla="*/ 17 h 33"/>
                <a:gd name="T64" fmla="*/ 46 w 115"/>
                <a:gd name="T65" fmla="*/ 3 h 33"/>
                <a:gd name="T66" fmla="*/ 48 w 115"/>
                <a:gd name="T67" fmla="*/ 3 h 33"/>
                <a:gd name="T68" fmla="*/ 62 w 115"/>
                <a:gd name="T69" fmla="*/ 17 h 33"/>
                <a:gd name="T70" fmla="*/ 48 w 115"/>
                <a:gd name="T71" fmla="*/ 31 h 33"/>
                <a:gd name="T72" fmla="*/ 46 w 115"/>
                <a:gd name="T73" fmla="*/ 31 h 33"/>
                <a:gd name="T74" fmla="*/ 32 w 115"/>
                <a:gd name="T75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" h="33">
                  <a:moveTo>
                    <a:pt x="3" y="16"/>
                  </a:move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6" y="9"/>
                    <a:pt x="79" y="10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79" y="7"/>
                    <a:pt x="76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moveTo>
                    <a:pt x="82" y="17"/>
                  </a:move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24"/>
                    <a:pt x="106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moveTo>
                    <a:pt x="32" y="17"/>
                  </a:move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íŝḻ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C115F1-1228-4553-AEDC-326F4D4B346C}"/>
                </a:ext>
              </a:extLst>
            </p:cNvPr>
            <p:cNvSpPr/>
            <p:nvPr/>
          </p:nvSpPr>
          <p:spPr bwMode="auto">
            <a:xfrm>
              <a:off x="7150100" y="2286000"/>
              <a:ext cx="290513" cy="84138"/>
            </a:xfrm>
            <a:custGeom>
              <a:avLst/>
              <a:gdLst>
                <a:gd name="T0" fmla="*/ 32 w 115"/>
                <a:gd name="T1" fmla="*/ 17 h 33"/>
                <a:gd name="T2" fmla="*/ 32 w 115"/>
                <a:gd name="T3" fmla="*/ 17 h 33"/>
                <a:gd name="T4" fmla="*/ 46 w 115"/>
                <a:gd name="T5" fmla="*/ 3 h 33"/>
                <a:gd name="T6" fmla="*/ 48 w 115"/>
                <a:gd name="T7" fmla="*/ 3 h 33"/>
                <a:gd name="T8" fmla="*/ 62 w 115"/>
                <a:gd name="T9" fmla="*/ 17 h 33"/>
                <a:gd name="T10" fmla="*/ 62 w 115"/>
                <a:gd name="T11" fmla="*/ 17 h 33"/>
                <a:gd name="T12" fmla="*/ 62 w 115"/>
                <a:gd name="T13" fmla="*/ 17 h 33"/>
                <a:gd name="T14" fmla="*/ 48 w 115"/>
                <a:gd name="T15" fmla="*/ 31 h 33"/>
                <a:gd name="T16" fmla="*/ 46 w 115"/>
                <a:gd name="T17" fmla="*/ 31 h 33"/>
                <a:gd name="T18" fmla="*/ 32 w 115"/>
                <a:gd name="T19" fmla="*/ 17 h 33"/>
                <a:gd name="T20" fmla="*/ 32 w 115"/>
                <a:gd name="T21" fmla="*/ 17 h 33"/>
                <a:gd name="T22" fmla="*/ 82 w 115"/>
                <a:gd name="T23" fmla="*/ 17 h 33"/>
                <a:gd name="T24" fmla="*/ 82 w 115"/>
                <a:gd name="T25" fmla="*/ 17 h 33"/>
                <a:gd name="T26" fmla="*/ 96 w 115"/>
                <a:gd name="T27" fmla="*/ 3 h 33"/>
                <a:gd name="T28" fmla="*/ 98 w 115"/>
                <a:gd name="T29" fmla="*/ 3 h 33"/>
                <a:gd name="T30" fmla="*/ 112 w 115"/>
                <a:gd name="T31" fmla="*/ 17 h 33"/>
                <a:gd name="T32" fmla="*/ 112 w 115"/>
                <a:gd name="T33" fmla="*/ 17 h 33"/>
                <a:gd name="T34" fmla="*/ 112 w 115"/>
                <a:gd name="T35" fmla="*/ 17 h 33"/>
                <a:gd name="T36" fmla="*/ 108 w 115"/>
                <a:gd name="T37" fmla="*/ 27 h 33"/>
                <a:gd name="T38" fmla="*/ 98 w 115"/>
                <a:gd name="T39" fmla="*/ 31 h 33"/>
                <a:gd name="T40" fmla="*/ 96 w 115"/>
                <a:gd name="T41" fmla="*/ 31 h 33"/>
                <a:gd name="T42" fmla="*/ 82 w 115"/>
                <a:gd name="T43" fmla="*/ 17 h 33"/>
                <a:gd name="T44" fmla="*/ 82 w 115"/>
                <a:gd name="T45" fmla="*/ 17 h 33"/>
                <a:gd name="T46" fmla="*/ 98 w 115"/>
                <a:gd name="T47" fmla="*/ 0 h 33"/>
                <a:gd name="T48" fmla="*/ 96 w 115"/>
                <a:gd name="T49" fmla="*/ 0 h 33"/>
                <a:gd name="T50" fmla="*/ 82 w 115"/>
                <a:gd name="T51" fmla="*/ 9 h 33"/>
                <a:gd name="T52" fmla="*/ 74 w 115"/>
                <a:gd name="T53" fmla="*/ 6 h 33"/>
                <a:gd name="T54" fmla="*/ 73 w 115"/>
                <a:gd name="T55" fmla="*/ 6 h 33"/>
                <a:gd name="T56" fmla="*/ 63 w 115"/>
                <a:gd name="T57" fmla="*/ 11 h 33"/>
                <a:gd name="T58" fmla="*/ 48 w 115"/>
                <a:gd name="T59" fmla="*/ 0 h 33"/>
                <a:gd name="T60" fmla="*/ 46 w 115"/>
                <a:gd name="T61" fmla="*/ 0 h 33"/>
                <a:gd name="T62" fmla="*/ 29 w 115"/>
                <a:gd name="T63" fmla="*/ 13 h 33"/>
                <a:gd name="T64" fmla="*/ 18 w 115"/>
                <a:gd name="T65" fmla="*/ 13 h 33"/>
                <a:gd name="T66" fmla="*/ 8 w 115"/>
                <a:gd name="T67" fmla="*/ 13 h 33"/>
                <a:gd name="T68" fmla="*/ 0 w 115"/>
                <a:gd name="T69" fmla="*/ 13 h 33"/>
                <a:gd name="T70" fmla="*/ 0 w 115"/>
                <a:gd name="T71" fmla="*/ 13 h 33"/>
                <a:gd name="T72" fmla="*/ 3 w 115"/>
                <a:gd name="T73" fmla="*/ 16 h 33"/>
                <a:gd name="T74" fmla="*/ 29 w 115"/>
                <a:gd name="T75" fmla="*/ 16 h 33"/>
                <a:gd name="T76" fmla="*/ 29 w 115"/>
                <a:gd name="T77" fmla="*/ 17 h 33"/>
                <a:gd name="T78" fmla="*/ 46 w 115"/>
                <a:gd name="T79" fmla="*/ 33 h 33"/>
                <a:gd name="T80" fmla="*/ 48 w 115"/>
                <a:gd name="T81" fmla="*/ 33 h 33"/>
                <a:gd name="T82" fmla="*/ 65 w 115"/>
                <a:gd name="T83" fmla="*/ 17 h 33"/>
                <a:gd name="T84" fmla="*/ 64 w 115"/>
                <a:gd name="T85" fmla="*/ 14 h 33"/>
                <a:gd name="T86" fmla="*/ 64 w 115"/>
                <a:gd name="T87" fmla="*/ 14 h 33"/>
                <a:gd name="T88" fmla="*/ 64 w 115"/>
                <a:gd name="T89" fmla="*/ 14 h 33"/>
                <a:gd name="T90" fmla="*/ 64 w 115"/>
                <a:gd name="T91" fmla="*/ 14 h 33"/>
                <a:gd name="T92" fmla="*/ 73 w 115"/>
                <a:gd name="T93" fmla="*/ 9 h 33"/>
                <a:gd name="T94" fmla="*/ 74 w 115"/>
                <a:gd name="T95" fmla="*/ 9 h 33"/>
                <a:gd name="T96" fmla="*/ 80 w 115"/>
                <a:gd name="T97" fmla="*/ 12 h 33"/>
                <a:gd name="T98" fmla="*/ 80 w 115"/>
                <a:gd name="T99" fmla="*/ 12 h 33"/>
                <a:gd name="T100" fmla="*/ 80 w 115"/>
                <a:gd name="T101" fmla="*/ 12 h 33"/>
                <a:gd name="T102" fmla="*/ 79 w 115"/>
                <a:gd name="T103" fmla="*/ 17 h 33"/>
                <a:gd name="T104" fmla="*/ 96 w 115"/>
                <a:gd name="T105" fmla="*/ 33 h 33"/>
                <a:gd name="T106" fmla="*/ 98 w 115"/>
                <a:gd name="T107" fmla="*/ 33 h 33"/>
                <a:gd name="T108" fmla="*/ 115 w 115"/>
                <a:gd name="T109" fmla="*/ 17 h 33"/>
                <a:gd name="T110" fmla="*/ 98 w 115"/>
                <a:gd name="T1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" h="33"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9"/>
                    <a:pt x="38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6" y="3"/>
                    <a:pt x="62" y="9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24"/>
                    <a:pt x="56" y="31"/>
                    <a:pt x="48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38" y="31"/>
                    <a:pt x="32" y="24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moveTo>
                    <a:pt x="82" y="17"/>
                  </a:moveTo>
                  <a:cubicBezTo>
                    <a:pt x="82" y="17"/>
                    <a:pt x="82" y="17"/>
                    <a:pt x="82" y="17"/>
                  </a:cubicBezTo>
                  <a:cubicBezTo>
                    <a:pt x="82" y="9"/>
                    <a:pt x="88" y="3"/>
                    <a:pt x="96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12" y="9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21"/>
                    <a:pt x="111" y="24"/>
                    <a:pt x="108" y="27"/>
                  </a:cubicBezTo>
                  <a:cubicBezTo>
                    <a:pt x="105" y="29"/>
                    <a:pt x="102" y="31"/>
                    <a:pt x="98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88" y="31"/>
                    <a:pt x="82" y="24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moveTo>
                    <a:pt x="98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4" y="4"/>
                    <a:pt x="82" y="9"/>
                  </a:cubicBezTo>
                  <a:cubicBezTo>
                    <a:pt x="80" y="7"/>
                    <a:pt x="77" y="6"/>
                    <a:pt x="74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69" y="7"/>
                    <a:pt x="66" y="8"/>
                    <a:pt x="63" y="11"/>
                  </a:cubicBezTo>
                  <a:cubicBezTo>
                    <a:pt x="61" y="5"/>
                    <a:pt x="55" y="0"/>
                    <a:pt x="4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1" y="6"/>
                    <a:pt x="2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2" y="15"/>
                    <a:pt x="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26"/>
                    <a:pt x="37" y="33"/>
                    <a:pt x="46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7" y="33"/>
                    <a:pt x="65" y="26"/>
                    <a:pt x="65" y="17"/>
                  </a:cubicBezTo>
                  <a:cubicBezTo>
                    <a:pt x="65" y="16"/>
                    <a:pt x="65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6" y="11"/>
                    <a:pt x="69" y="9"/>
                    <a:pt x="73" y="9"/>
                  </a:cubicBezTo>
                  <a:cubicBezTo>
                    <a:pt x="73" y="9"/>
                    <a:pt x="74" y="9"/>
                    <a:pt x="74" y="9"/>
                  </a:cubicBezTo>
                  <a:cubicBezTo>
                    <a:pt x="77" y="9"/>
                    <a:pt x="79" y="10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3"/>
                    <a:pt x="79" y="15"/>
                    <a:pt x="79" y="17"/>
                  </a:cubicBezTo>
                  <a:cubicBezTo>
                    <a:pt x="79" y="26"/>
                    <a:pt x="87" y="33"/>
                    <a:pt x="96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108" y="33"/>
                    <a:pt x="115" y="26"/>
                    <a:pt x="115" y="17"/>
                  </a:cubicBezTo>
                  <a:cubicBezTo>
                    <a:pt x="115" y="8"/>
                    <a:pt x="108" y="0"/>
                    <a:pt x="98" y="0"/>
                  </a:cubicBezTo>
                </a:path>
              </a:pathLst>
            </a:custGeom>
            <a:solidFill>
              <a:srgbClr val="136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052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Transformer- Masked </a:t>
            </a:r>
            <a:r>
              <a:rPr lang="en-US" altLang="zh-TW" dirty="0"/>
              <a:t>Self-Attention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-</a:t>
            </a:r>
            <a:r>
              <a:rPr lang="zh-TW" altLang="en-US" dirty="0"/>
              <a:t>解碼組件</a:t>
            </a:r>
            <a:r>
              <a:rPr lang="en-US" altLang="zh-TW" dirty="0"/>
              <a:t>Masked Self-Attention</a:t>
            </a:r>
            <a:r>
              <a:rPr lang="zh-TW" altLang="en-US" dirty="0"/>
              <a:t>在</a:t>
            </a:r>
            <a:r>
              <a:rPr lang="en-US" altLang="zh-TW" dirty="0"/>
              <a:t>decoder</a:t>
            </a:r>
            <a:r>
              <a:rPr lang="zh-TW" altLang="en-US" dirty="0"/>
              <a:t>中的</a:t>
            </a:r>
            <a:r>
              <a:rPr lang="en-US" altLang="zh-TW" dirty="0"/>
              <a:t>attention layer</a:t>
            </a:r>
            <a:r>
              <a:rPr lang="zh-TW" altLang="en-US" dirty="0"/>
              <a:t>中的</a:t>
            </a:r>
            <a:r>
              <a:rPr lang="en-US" altLang="zh-TW" dirty="0"/>
              <a:t>attention </a:t>
            </a:r>
            <a:r>
              <a:rPr lang="zh-TW" altLang="en-US" dirty="0"/>
              <a:t>部分，和</a:t>
            </a:r>
            <a:r>
              <a:rPr lang="en-US" altLang="zh-TW" dirty="0"/>
              <a:t>encoder</a:t>
            </a:r>
            <a:r>
              <a:rPr lang="zh-TW" altLang="en-US" dirty="0"/>
              <a:t>中的</a:t>
            </a:r>
            <a:r>
              <a:rPr lang="en-US" altLang="zh-TW" dirty="0"/>
              <a:t>attention</a:t>
            </a:r>
            <a:r>
              <a:rPr lang="zh-TW" altLang="en-US" dirty="0"/>
              <a:t>不同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輸入序列進入到一個</a:t>
            </a:r>
            <a:r>
              <a:rPr lang="en-US" altLang="zh-TW" dirty="0"/>
              <a:t>masked self-attention</a:t>
            </a:r>
            <a:r>
              <a:rPr lang="zh-TW" altLang="en-US" dirty="0"/>
              <a:t>中，因為我們在</a:t>
            </a:r>
            <a:r>
              <a:rPr lang="en-US" altLang="zh-TW" dirty="0"/>
              <a:t>prediction</a:t>
            </a:r>
            <a:r>
              <a:rPr lang="zh-TW" altLang="en-US" dirty="0"/>
              <a:t>的時候</a:t>
            </a:r>
            <a:r>
              <a:rPr lang="en-US" altLang="zh-TW" dirty="0"/>
              <a:t>decoder</a:t>
            </a:r>
            <a:r>
              <a:rPr lang="zh-TW" altLang="en-US" dirty="0"/>
              <a:t>是從左往右地逐個</a:t>
            </a:r>
            <a:r>
              <a:rPr lang="en-US" altLang="zh-TW" dirty="0"/>
              <a:t>predict</a:t>
            </a:r>
            <a:r>
              <a:rPr lang="zh-TW" altLang="en-US" dirty="0"/>
              <a:t>，所以在我們做</a:t>
            </a:r>
            <a:r>
              <a:rPr lang="en-US" altLang="zh-TW" dirty="0"/>
              <a:t>attention</a:t>
            </a:r>
            <a:r>
              <a:rPr lang="zh-TW" altLang="en-US" dirty="0"/>
              <a:t>的時候，每一個時間步的輸入應該只</a:t>
            </a:r>
            <a:r>
              <a:rPr lang="en-US" altLang="zh-TW" dirty="0"/>
              <a:t>attention</a:t>
            </a:r>
            <a:r>
              <a:rPr lang="zh-TW" altLang="en-US" dirty="0"/>
              <a:t>到之前的輸入，因此我們要像前文所說的那樣，通過在</a:t>
            </a:r>
            <a:r>
              <a:rPr lang="en-US" altLang="zh-TW" dirty="0"/>
              <a:t>attention</a:t>
            </a:r>
            <a:r>
              <a:rPr lang="zh-TW" altLang="en-US" dirty="0"/>
              <a:t>的系數矩陣的對應位置加上負無窮然後經過</a:t>
            </a:r>
            <a:r>
              <a:rPr lang="en-US" altLang="zh-TW" dirty="0" err="1"/>
              <a:t>softmax</a:t>
            </a:r>
            <a:r>
              <a:rPr lang="zh-TW" altLang="en-US" dirty="0"/>
              <a:t>函數，來將某些位置的權重</a:t>
            </a:r>
            <a:r>
              <a:rPr lang="en-US" altLang="zh-TW" dirty="0"/>
              <a:t>mask</a:t>
            </a:r>
            <a:r>
              <a:rPr lang="zh-TW" altLang="en-US" dirty="0"/>
              <a:t>掉。</a:t>
            </a:r>
          </a:p>
        </p:txBody>
      </p:sp>
      <p:pic>
        <p:nvPicPr>
          <p:cNvPr id="19458" name="Picture 2" descr="E:\Delete\git_r\two_month_report\202011_2021_1\11_31_to_12_4_fifth\img\attention_mechanism_luo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9" y="2685263"/>
            <a:ext cx="6118483" cy="4172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橢圓 2"/>
          <p:cNvSpPr/>
          <p:nvPr/>
        </p:nvSpPr>
        <p:spPr>
          <a:xfrm>
            <a:off x="7198242" y="5486399"/>
            <a:ext cx="542261" cy="861238"/>
          </a:xfrm>
          <a:prstGeom prst="ellipse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217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解碼組件最後會輸出一個實數向量。我們如何把浮點數變成一個單詞？這便是線性變換層要做的工作，它之後就是</a:t>
            </a:r>
            <a:r>
              <a:rPr lang="en-US" altLang="zh-TW" dirty="0" err="1"/>
              <a:t>Softmax</a:t>
            </a:r>
            <a:r>
              <a:rPr lang="zh-TW" altLang="en-US" dirty="0"/>
              <a:t>層</a:t>
            </a:r>
            <a:r>
              <a:rPr lang="zh-TW" altLang="en-US" dirty="0" smtClean="0"/>
              <a:t>。</a:t>
            </a:r>
            <a:endParaRPr lang="en-US" altLang="zh-TW" dirty="0"/>
          </a:p>
          <a:p>
            <a:endParaRPr lang="zh-TW" altLang="en-US" dirty="0"/>
          </a:p>
          <a:p>
            <a:r>
              <a:rPr lang="zh-TW" altLang="en-US" dirty="0"/>
              <a:t>線性變換層是一個簡單的全連接神經網絡，它可以把解碼組件產生的向量投射到一個比它大得多的、被稱作對數幾率（</a:t>
            </a:r>
            <a:r>
              <a:rPr lang="en-US" altLang="zh-TW" dirty="0"/>
              <a:t>logits</a:t>
            </a:r>
            <a:r>
              <a:rPr lang="zh-TW" altLang="en-US" dirty="0"/>
              <a:t>）的向量里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不妨假設我們的模型從訓練集中學習一萬個不同的英語單詞（我們模型的“輸出詞表”）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因此對數幾率向量為一萬個單元格長度的向量</a:t>
            </a:r>
            <a:r>
              <a:rPr lang="en-US" altLang="zh-TW" dirty="0"/>
              <a:t>——</a:t>
            </a:r>
            <a:r>
              <a:rPr lang="zh-TW" altLang="en-US" dirty="0"/>
              <a:t>每個單元格對應某一個單詞的分數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endParaRPr lang="zh-TW" altLang="en-US" dirty="0"/>
          </a:p>
          <a:p>
            <a:r>
              <a:rPr lang="zh-TW" altLang="en-US" dirty="0"/>
              <a:t>接下來的</a:t>
            </a:r>
            <a:r>
              <a:rPr lang="en-US" altLang="zh-TW" dirty="0" err="1"/>
              <a:t>Softmax</a:t>
            </a:r>
            <a:r>
              <a:rPr lang="en-US" altLang="zh-TW" dirty="0"/>
              <a:t> </a:t>
            </a:r>
            <a:r>
              <a:rPr lang="zh-TW" altLang="en-US" dirty="0"/>
              <a:t>層便會把那些分數變成概率（都為正數、上限</a:t>
            </a:r>
            <a:r>
              <a:rPr lang="en-US" altLang="zh-TW" dirty="0"/>
              <a:t>1.0</a:t>
            </a:r>
            <a:r>
              <a:rPr lang="zh-TW" altLang="en-US" dirty="0"/>
              <a:t>）。概率最高的單元格被選中，並且它對應的單詞被作為這個時間步的輸出。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587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The Final Linear and </a:t>
            </a:r>
            <a:r>
              <a:rPr lang="en-US" altLang="zh-TW" dirty="0" err="1"/>
              <a:t>Softmax</a:t>
            </a:r>
            <a:r>
              <a:rPr lang="en-US" altLang="zh-TW" dirty="0"/>
              <a:t> Layer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20482" name="Picture 2" descr="E:\Delete\git_r\two_month_report\202011_2021_1\11_31_to_12_4_fifth\img\transformer_decoder_output_softma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936" y="1354906"/>
            <a:ext cx="7360572" cy="475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066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1.Encoder-Decoder</a:t>
            </a:r>
            <a:r>
              <a:rPr lang="zh-TW" altLang="en-US" dirty="0"/>
              <a:t>框架在序列到序列模型中有很廣泛的應用。但該框架有個潛在的問題就出在編碼器產生的源語言上下文向量</a:t>
            </a:r>
            <a:r>
              <a:rPr lang="en-US" altLang="zh-TW" dirty="0"/>
              <a:t>c</a:t>
            </a:r>
            <a:r>
              <a:rPr lang="zh-TW" altLang="en-US" dirty="0"/>
              <a:t>上了，一般來說</a:t>
            </a:r>
            <a:r>
              <a:rPr lang="en-US" altLang="zh-TW" dirty="0"/>
              <a:t>c</a:t>
            </a:r>
            <a:r>
              <a:rPr lang="zh-TW" altLang="en-US" dirty="0"/>
              <a:t>向量具有兩個局限性，</a:t>
            </a:r>
          </a:p>
          <a:p>
            <a:r>
              <a:rPr lang="zh-TW" altLang="en-US" dirty="0"/>
              <a:t>第一個是當輸入序列很長的時候，通過循環網絡產生的</a:t>
            </a:r>
            <a:r>
              <a:rPr lang="en-US" altLang="zh-TW" dirty="0"/>
              <a:t>c</a:t>
            </a:r>
            <a:r>
              <a:rPr lang="zh-TW" altLang="en-US" dirty="0"/>
              <a:t>向量很難表達整句的信息，而是偏向於表達離序列結尾近的信息；另一方面，由於在機器翻譯的過程中，需要明確目標語言詞匯與源語言詞匯的大致對應關系，這樣如果所有的解碼都用同一個上下文</a:t>
            </a:r>
            <a:r>
              <a:rPr lang="en-US" altLang="zh-TW" dirty="0"/>
              <a:t>c</a:t>
            </a:r>
            <a:r>
              <a:rPr lang="zh-TW" altLang="en-US" dirty="0"/>
              <a:t>向量，就很難表現出源語言詞匯的具體貢獻情況</a:t>
            </a:r>
          </a:p>
          <a:p>
            <a:endParaRPr lang="zh-TW" altLang="en-US" dirty="0"/>
          </a:p>
        </p:txBody>
      </p:sp>
      <p:pic>
        <p:nvPicPr>
          <p:cNvPr id="4098" name="Picture 2" descr="E:\Delete\git_r\two_month_report\202011_2021_1\11_31_to_12_4_fifth\img\seq-seq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477" y="2836457"/>
            <a:ext cx="6858000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463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nsformer- Feed Forward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中的</a:t>
            </a:r>
            <a:r>
              <a:rPr lang="en-US" altLang="zh-TW" dirty="0"/>
              <a:t>feed forward</a:t>
            </a:r>
            <a:r>
              <a:rPr lang="zh-TW" altLang="en-US" dirty="0"/>
              <a:t>網絡可以理解為兩個連續的線性變換，這兩個變換中間是一個</a:t>
            </a:r>
            <a:r>
              <a:rPr lang="en-US" altLang="zh-TW" dirty="0" err="1"/>
              <a:t>ReLU</a:t>
            </a:r>
            <a:r>
              <a:rPr lang="zh-TW" altLang="en-US" dirty="0"/>
              <a:t>激活函數：</a:t>
            </a:r>
          </a:p>
        </p:txBody>
      </p:sp>
      <p:pic>
        <p:nvPicPr>
          <p:cNvPr id="21506" name="Picture 2" descr="E:\Delete\git_r\two_month_report\202011_2021_1\11_31_to_12_4_fifth\img\tansformer-ffn-formul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4468" y="2218623"/>
            <a:ext cx="6508254" cy="907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c1ca4907-58a4-4bf3-8c0c-2509acb70dc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88933" y="3924208"/>
            <a:ext cx="2714626" cy="2020947"/>
            <a:chOff x="2795588" y="974725"/>
            <a:chExt cx="6597650" cy="4911726"/>
          </a:xfrm>
        </p:grpSpPr>
        <p:sp>
          <p:nvSpPr>
            <p:cNvPr id="8" name="íŝľï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65411B2-B4B3-4A4C-AC62-8E35406CFB9F}"/>
                </a:ext>
              </a:extLst>
            </p:cNvPr>
            <p:cNvSpPr/>
            <p:nvPr/>
          </p:nvSpPr>
          <p:spPr bwMode="auto">
            <a:xfrm>
              <a:off x="2795588" y="5292725"/>
              <a:ext cx="659765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S1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61098BA-2E3B-41B7-910A-08186908B7E7}"/>
                </a:ext>
              </a:extLst>
            </p:cNvPr>
            <p:cNvSpPr/>
            <p:nvPr/>
          </p:nvSpPr>
          <p:spPr bwMode="auto">
            <a:xfrm>
              <a:off x="3478213" y="5448300"/>
              <a:ext cx="71596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$ḷ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B059997-46FA-49AE-9903-3589AC608184}"/>
                </a:ext>
              </a:extLst>
            </p:cNvPr>
            <p:cNvSpPr/>
            <p:nvPr/>
          </p:nvSpPr>
          <p:spPr bwMode="auto">
            <a:xfrm>
              <a:off x="5837238" y="5375275"/>
              <a:ext cx="269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ïŝľï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77F733F-AA04-4F00-AA67-5772B3FEFCFD}"/>
                </a:ext>
              </a:extLst>
            </p:cNvPr>
            <p:cNvSpPr/>
            <p:nvPr/>
          </p:nvSpPr>
          <p:spPr bwMode="auto">
            <a:xfrm>
              <a:off x="4791076" y="5375275"/>
              <a:ext cx="39687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ṣľ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F7715CE-303A-4452-A160-F1762E645048}"/>
                </a:ext>
              </a:extLst>
            </p:cNvPr>
            <p:cNvSpPr/>
            <p:nvPr/>
          </p:nvSpPr>
          <p:spPr bwMode="auto">
            <a:xfrm>
              <a:off x="7618413" y="5414963"/>
              <a:ext cx="838200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ṥ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6ABF75-0F08-4EEF-9275-53DCF51FA5C8}"/>
                </a:ext>
              </a:extLst>
            </p:cNvPr>
            <p:cNvSpPr/>
            <p:nvPr/>
          </p:nvSpPr>
          <p:spPr bwMode="auto">
            <a:xfrm>
              <a:off x="5764213" y="5414963"/>
              <a:ext cx="1889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ṧḻî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E2307B-D59D-4AB7-B8C0-5E460377A233}"/>
                </a:ext>
              </a:extLst>
            </p:cNvPr>
            <p:cNvSpPr/>
            <p:nvPr/>
          </p:nvSpPr>
          <p:spPr bwMode="auto">
            <a:xfrm>
              <a:off x="4322763" y="5448300"/>
              <a:ext cx="174625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ṩḷî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BA73590-4511-4D49-9E5B-98BF0A5E8E53}"/>
                </a:ext>
              </a:extLst>
            </p:cNvPr>
            <p:cNvSpPr/>
            <p:nvPr/>
          </p:nvSpPr>
          <p:spPr bwMode="auto">
            <a:xfrm>
              <a:off x="8561388" y="5414963"/>
              <a:ext cx="112713" cy="317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śļí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1D22EF-4238-4B07-AA24-FB06B908C83D}"/>
                </a:ext>
              </a:extLst>
            </p:cNvPr>
            <p:cNvSpPr/>
            <p:nvPr/>
          </p:nvSpPr>
          <p:spPr bwMode="auto">
            <a:xfrm>
              <a:off x="3300413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cubicBezTo>
                    <a:pt x="23" y="1"/>
                    <a:pt x="23" y="1"/>
                    <a:pt x="23" y="1"/>
                  </a:cubicBezTo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ṥ1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505E754-A8DA-49EE-8243-2FC4222833D5}"/>
                </a:ext>
              </a:extLst>
            </p:cNvPr>
            <p:cNvSpPr/>
            <p:nvPr/>
          </p:nvSpPr>
          <p:spPr bwMode="auto">
            <a:xfrm>
              <a:off x="6153151" y="974725"/>
              <a:ext cx="2698750" cy="3727450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close/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lnTo>
                    <a:pt x="23" y="1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4076AAF-0FC7-4991-8291-64C92DA85641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ṧḻ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50597BD-719A-477F-8A96-4D672912837D}"/>
                </a:ext>
              </a:extLst>
            </p:cNvPr>
            <p:cNvSpPr/>
            <p:nvPr/>
          </p:nvSpPr>
          <p:spPr bwMode="auto">
            <a:xfrm>
              <a:off x="5292726" y="1376363"/>
              <a:ext cx="2943225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śḻ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8735E3C-CB0F-41D9-B04D-8FB01EFD8191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šḻ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A12B4B2-F19B-4750-B13B-5FBA0A58D57D}"/>
                </a:ext>
              </a:extLst>
            </p:cNvPr>
            <p:cNvSpPr/>
            <p:nvPr/>
          </p:nvSpPr>
          <p:spPr bwMode="auto">
            <a:xfrm>
              <a:off x="5332413" y="1376363"/>
              <a:ext cx="2941638" cy="170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ś1ï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58F6A3C-5590-47CB-981D-0D7DEF0C5A89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ṧľi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178E331-74CC-4CB2-BB4F-49B139253A61}"/>
                </a:ext>
              </a:extLst>
            </p:cNvPr>
            <p:cNvSpPr/>
            <p:nvPr/>
          </p:nvSpPr>
          <p:spPr bwMode="auto">
            <a:xfrm>
              <a:off x="5405438" y="1458913"/>
              <a:ext cx="2797175" cy="154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śli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299824-78AE-4532-A701-F9E535A8040B}"/>
                </a:ext>
              </a:extLst>
            </p:cNvPr>
            <p:cNvSpPr/>
            <p:nvPr/>
          </p:nvSpPr>
          <p:spPr bwMode="auto">
            <a:xfrm>
              <a:off x="8172451" y="1458913"/>
              <a:ext cx="30163" cy="1546225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ślí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0D79B5-F106-409B-B69B-2664884E96FC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1ï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D9CB42D-6E61-49DF-B501-3135B3CCC686}"/>
                </a:ext>
              </a:extLst>
            </p:cNvPr>
            <p:cNvSpPr/>
            <p:nvPr/>
          </p:nvSpPr>
          <p:spPr bwMode="auto">
            <a:xfrm>
              <a:off x="5362576" y="2524125"/>
              <a:ext cx="2882900" cy="109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$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46C7EC8-F8C2-4BF0-B90B-8C550A61B9E1}"/>
                </a:ext>
              </a:extLst>
            </p:cNvPr>
            <p:cNvSpPr/>
            <p:nvPr/>
          </p:nvSpPr>
          <p:spPr bwMode="auto">
            <a:xfrm>
              <a:off x="5653088" y="4152900"/>
              <a:ext cx="481013" cy="10715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ṩ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8EDA449-3557-4B40-B0FD-CB7ED5618E5F}"/>
                </a:ext>
              </a:extLst>
            </p:cNvPr>
            <p:cNvSpPr/>
            <p:nvPr/>
          </p:nvSpPr>
          <p:spPr bwMode="auto">
            <a:xfrm>
              <a:off x="5745163" y="5224463"/>
              <a:ext cx="2124075" cy="68263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ṥļ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F8C2E4-683F-497F-99DC-720721F62841}"/>
                </a:ext>
              </a:extLst>
            </p:cNvPr>
            <p:cNvSpPr/>
            <p:nvPr/>
          </p:nvSpPr>
          <p:spPr bwMode="auto">
            <a:xfrm>
              <a:off x="6134101" y="4152900"/>
              <a:ext cx="1827213" cy="10715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ṩļï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FE21E05-EC70-48D4-A9BC-B81AD8748DBA}"/>
                </a:ext>
              </a:extLst>
            </p:cNvPr>
            <p:cNvSpPr/>
            <p:nvPr/>
          </p:nvSpPr>
          <p:spPr bwMode="auto">
            <a:xfrm>
              <a:off x="6324601" y="4284663"/>
              <a:ext cx="1449388" cy="352425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şḷ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3293A21-C682-42DD-B878-DEBCAF32D7F3}"/>
                </a:ext>
              </a:extLst>
            </p:cNvPr>
            <p:cNvSpPr/>
            <p:nvPr/>
          </p:nvSpPr>
          <p:spPr bwMode="auto">
            <a:xfrm>
              <a:off x="6324601" y="4741863"/>
              <a:ext cx="1449388" cy="349250"/>
            </a:xfrm>
            <a:prstGeom prst="rect">
              <a:avLst/>
            </a:pr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ṡ1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F84C22E-A1C5-4FCE-8257-F0216CBC77C4}"/>
                </a:ext>
              </a:extLst>
            </p:cNvPr>
            <p:cNvSpPr/>
            <p:nvPr/>
          </p:nvSpPr>
          <p:spPr bwMode="auto">
            <a:xfrm>
              <a:off x="6810376" y="4435475"/>
              <a:ext cx="474663" cy="49213"/>
            </a:xfrm>
            <a:custGeom>
              <a:avLst/>
              <a:gdLst>
                <a:gd name="T0" fmla="*/ 138 w 144"/>
                <a:gd name="T1" fmla="*/ 15 h 15"/>
                <a:gd name="T2" fmla="*/ 6 w 144"/>
                <a:gd name="T3" fmla="*/ 15 h 15"/>
                <a:gd name="T4" fmla="*/ 0 w 144"/>
                <a:gd name="T5" fmla="*/ 8 h 15"/>
                <a:gd name="T6" fmla="*/ 0 w 144"/>
                <a:gd name="T7" fmla="*/ 7 h 15"/>
                <a:gd name="T8" fmla="*/ 6 w 144"/>
                <a:gd name="T9" fmla="*/ 0 h 15"/>
                <a:gd name="T10" fmla="*/ 138 w 144"/>
                <a:gd name="T11" fmla="*/ 0 h 15"/>
                <a:gd name="T12" fmla="*/ 144 w 144"/>
                <a:gd name="T13" fmla="*/ 7 h 15"/>
                <a:gd name="T14" fmla="*/ 144 w 144"/>
                <a:gd name="T15" fmla="*/ 8 h 15"/>
                <a:gd name="T16" fmla="*/ 138 w 144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5">
                  <a:moveTo>
                    <a:pt x="138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3"/>
                    <a:pt x="144" y="7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2"/>
                    <a:pt x="142" y="15"/>
                    <a:pt x="138" y="15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šļiḍ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433C5B6-993A-4ED6-BE36-8BB36BFD8C96}"/>
                </a:ext>
              </a:extLst>
            </p:cNvPr>
            <p:cNvSpPr/>
            <p:nvPr/>
          </p:nvSpPr>
          <p:spPr bwMode="auto">
            <a:xfrm>
              <a:off x="6810376" y="4894263"/>
              <a:ext cx="474663" cy="46038"/>
            </a:xfrm>
            <a:custGeom>
              <a:avLst/>
              <a:gdLst>
                <a:gd name="T0" fmla="*/ 138 w 144"/>
                <a:gd name="T1" fmla="*/ 14 h 14"/>
                <a:gd name="T2" fmla="*/ 6 w 144"/>
                <a:gd name="T3" fmla="*/ 14 h 14"/>
                <a:gd name="T4" fmla="*/ 0 w 144"/>
                <a:gd name="T5" fmla="*/ 8 h 14"/>
                <a:gd name="T6" fmla="*/ 0 w 144"/>
                <a:gd name="T7" fmla="*/ 6 h 14"/>
                <a:gd name="T8" fmla="*/ 6 w 144"/>
                <a:gd name="T9" fmla="*/ 0 h 14"/>
                <a:gd name="T10" fmla="*/ 138 w 144"/>
                <a:gd name="T11" fmla="*/ 0 h 14"/>
                <a:gd name="T12" fmla="*/ 144 w 144"/>
                <a:gd name="T13" fmla="*/ 6 h 14"/>
                <a:gd name="T14" fmla="*/ 144 w 144"/>
                <a:gd name="T15" fmla="*/ 8 h 14"/>
                <a:gd name="T16" fmla="*/ 138 w 144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">
                  <a:moveTo>
                    <a:pt x="138" y="14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3" y="14"/>
                    <a:pt x="0" y="11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4" y="2"/>
                    <a:pt x="144" y="6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11"/>
                    <a:pt x="142" y="14"/>
                    <a:pt x="138" y="14"/>
                  </a:cubicBez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ŝ1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CE0D49E-FCA1-4047-9033-15102420FF45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ṡ1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E89B68B-F587-4843-ADD5-CEBAD96B4170}"/>
                </a:ext>
              </a:extLst>
            </p:cNvPr>
            <p:cNvSpPr/>
            <p:nvPr/>
          </p:nvSpPr>
          <p:spPr bwMode="auto">
            <a:xfrm>
              <a:off x="3517901" y="1881188"/>
              <a:ext cx="1171575" cy="3411538"/>
            </a:xfrm>
            <a:custGeom>
              <a:avLst/>
              <a:gdLst>
                <a:gd name="T0" fmla="*/ 738 w 738"/>
                <a:gd name="T1" fmla="*/ 2149 h 2149"/>
                <a:gd name="T2" fmla="*/ 89 w 738"/>
                <a:gd name="T3" fmla="*/ 2149 h 2149"/>
                <a:gd name="T4" fmla="*/ 0 w 738"/>
                <a:gd name="T5" fmla="*/ 0 h 2149"/>
                <a:gd name="T6" fmla="*/ 648 w 738"/>
                <a:gd name="T7" fmla="*/ 0 h 2149"/>
                <a:gd name="T8" fmla="*/ 738 w 738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8" h="2149">
                  <a:moveTo>
                    <a:pt x="738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648" y="0"/>
                  </a:lnTo>
                  <a:lnTo>
                    <a:pt x="738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l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66521E2-F435-46C8-82A9-CFBA7D6917A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  <a:close/>
                </a:path>
              </a:pathLst>
            </a:cu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ŝḷ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72175F7-9041-41C5-A3ED-0B6AF76A423C}"/>
                </a:ext>
              </a:extLst>
            </p:cNvPr>
            <p:cNvSpPr/>
            <p:nvPr/>
          </p:nvSpPr>
          <p:spPr bwMode="auto">
            <a:xfrm>
              <a:off x="3544888" y="1881188"/>
              <a:ext cx="1292225" cy="3411538"/>
            </a:xfrm>
            <a:custGeom>
              <a:avLst/>
              <a:gdLst>
                <a:gd name="T0" fmla="*/ 814 w 814"/>
                <a:gd name="T1" fmla="*/ 2149 h 2149"/>
                <a:gd name="T2" fmla="*/ 89 w 814"/>
                <a:gd name="T3" fmla="*/ 2149 h 2149"/>
                <a:gd name="T4" fmla="*/ 0 w 814"/>
                <a:gd name="T5" fmla="*/ 0 h 2149"/>
                <a:gd name="T6" fmla="*/ 725 w 814"/>
                <a:gd name="T7" fmla="*/ 0 h 2149"/>
                <a:gd name="T8" fmla="*/ 814 w 814"/>
                <a:gd name="T9" fmla="*/ 2149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4" h="2149">
                  <a:moveTo>
                    <a:pt x="814" y="2149"/>
                  </a:moveTo>
                  <a:lnTo>
                    <a:pt x="89" y="2149"/>
                  </a:lnTo>
                  <a:lnTo>
                    <a:pt x="0" y="0"/>
                  </a:lnTo>
                  <a:lnTo>
                    <a:pt x="725" y="0"/>
                  </a:lnTo>
                  <a:lnTo>
                    <a:pt x="814" y="21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ş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4C27306-59BB-41B8-9C50-CDB880905BD9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ŝḻî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19238A3-5F55-48D4-8750-872F739935F5}"/>
                </a:ext>
              </a:extLst>
            </p:cNvPr>
            <p:cNvSpPr/>
            <p:nvPr/>
          </p:nvSpPr>
          <p:spPr bwMode="auto">
            <a:xfrm>
              <a:off x="3667126" y="2000250"/>
              <a:ext cx="1044575" cy="3173413"/>
            </a:xfrm>
            <a:custGeom>
              <a:avLst/>
              <a:gdLst>
                <a:gd name="T0" fmla="*/ 83 w 658"/>
                <a:gd name="T1" fmla="*/ 1999 h 1999"/>
                <a:gd name="T2" fmla="*/ 0 w 658"/>
                <a:gd name="T3" fmla="*/ 0 h 1999"/>
                <a:gd name="T4" fmla="*/ 575 w 658"/>
                <a:gd name="T5" fmla="*/ 0 h 1999"/>
                <a:gd name="T6" fmla="*/ 658 w 658"/>
                <a:gd name="T7" fmla="*/ 1999 h 1999"/>
                <a:gd name="T8" fmla="*/ 83 w 658"/>
                <a:gd name="T9" fmla="*/ 1999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8" h="1999">
                  <a:moveTo>
                    <a:pt x="83" y="1999"/>
                  </a:moveTo>
                  <a:lnTo>
                    <a:pt x="0" y="0"/>
                  </a:lnTo>
                  <a:lnTo>
                    <a:pt x="575" y="0"/>
                  </a:lnTo>
                  <a:lnTo>
                    <a:pt x="658" y="1999"/>
                  </a:lnTo>
                  <a:lnTo>
                    <a:pt x="83" y="19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ļî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16B4F19-CE60-4E6C-AAC9-C50EFDF65775}"/>
                </a:ext>
              </a:extLst>
            </p:cNvPr>
            <p:cNvSpPr/>
            <p:nvPr/>
          </p:nvSpPr>
          <p:spPr bwMode="auto">
            <a:xfrm>
              <a:off x="6507163" y="2913063"/>
              <a:ext cx="74613" cy="1136650"/>
            </a:xfrm>
            <a:custGeom>
              <a:avLst/>
              <a:gdLst>
                <a:gd name="T0" fmla="*/ 15 w 23"/>
                <a:gd name="T1" fmla="*/ 326 h 345"/>
                <a:gd name="T2" fmla="*/ 14 w 23"/>
                <a:gd name="T3" fmla="*/ 11 h 345"/>
                <a:gd name="T4" fmla="*/ 0 w 23"/>
                <a:gd name="T5" fmla="*/ 0 h 345"/>
                <a:gd name="T6" fmla="*/ 5 w 23"/>
                <a:gd name="T7" fmla="*/ 178 h 345"/>
                <a:gd name="T8" fmla="*/ 7 w 23"/>
                <a:gd name="T9" fmla="*/ 326 h 345"/>
                <a:gd name="T10" fmla="*/ 15 w 23"/>
                <a:gd name="T11" fmla="*/ 326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45">
                  <a:moveTo>
                    <a:pt x="15" y="326"/>
                  </a:moveTo>
                  <a:cubicBezTo>
                    <a:pt x="19" y="217"/>
                    <a:pt x="23" y="66"/>
                    <a:pt x="14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" y="10"/>
                    <a:pt x="5" y="178"/>
                  </a:cubicBezTo>
                  <a:cubicBezTo>
                    <a:pt x="7" y="345"/>
                    <a:pt x="9" y="301"/>
                    <a:pt x="7" y="326"/>
                  </a:cubicBezTo>
                  <a:lnTo>
                    <a:pt x="15" y="326"/>
                  </a:ln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şľï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B0A90DA-2B61-45BB-A24A-F1AD9453247D}"/>
                </a:ext>
              </a:extLst>
            </p:cNvPr>
            <p:cNvSpPr/>
            <p:nvPr/>
          </p:nvSpPr>
          <p:spPr bwMode="auto">
            <a:xfrm>
              <a:off x="6532563" y="2600325"/>
              <a:ext cx="623888" cy="688975"/>
            </a:xfrm>
            <a:custGeom>
              <a:avLst/>
              <a:gdLst>
                <a:gd name="T0" fmla="*/ 32 w 189"/>
                <a:gd name="T1" fmla="*/ 59 h 209"/>
                <a:gd name="T2" fmla="*/ 167 w 189"/>
                <a:gd name="T3" fmla="*/ 0 h 209"/>
                <a:gd name="T4" fmla="*/ 67 w 189"/>
                <a:gd name="T5" fmla="*/ 85 h 209"/>
                <a:gd name="T6" fmla="*/ 0 w 189"/>
                <a:gd name="T7" fmla="*/ 209 h 209"/>
                <a:gd name="T8" fmla="*/ 32 w 189"/>
                <a:gd name="T9" fmla="*/ 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209">
                  <a:moveTo>
                    <a:pt x="32" y="59"/>
                  </a:moveTo>
                  <a:cubicBezTo>
                    <a:pt x="58" y="25"/>
                    <a:pt x="112" y="0"/>
                    <a:pt x="167" y="0"/>
                  </a:cubicBezTo>
                  <a:cubicBezTo>
                    <a:pt x="189" y="0"/>
                    <a:pt x="102" y="41"/>
                    <a:pt x="67" y="85"/>
                  </a:cubicBezTo>
                  <a:cubicBezTo>
                    <a:pt x="40" y="119"/>
                    <a:pt x="10" y="177"/>
                    <a:pt x="0" y="209"/>
                  </a:cubicBezTo>
                  <a:cubicBezTo>
                    <a:pt x="5" y="142"/>
                    <a:pt x="7" y="94"/>
                    <a:pt x="32" y="59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s1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0B6A534-AC6A-4795-BDE5-5146B62DA946}"/>
                </a:ext>
              </a:extLst>
            </p:cNvPr>
            <p:cNvSpPr/>
            <p:nvPr/>
          </p:nvSpPr>
          <p:spPr bwMode="auto">
            <a:xfrm>
              <a:off x="5965826" y="2867025"/>
              <a:ext cx="584200" cy="725488"/>
            </a:xfrm>
            <a:custGeom>
              <a:avLst/>
              <a:gdLst>
                <a:gd name="T0" fmla="*/ 153 w 177"/>
                <a:gd name="T1" fmla="*/ 68 h 220"/>
                <a:gd name="T2" fmla="*/ 22 w 177"/>
                <a:gd name="T3" fmla="*/ 2 h 220"/>
                <a:gd name="T4" fmla="*/ 117 w 177"/>
                <a:gd name="T5" fmla="*/ 92 h 220"/>
                <a:gd name="T6" fmla="*/ 177 w 177"/>
                <a:gd name="T7" fmla="*/ 220 h 220"/>
                <a:gd name="T8" fmla="*/ 153 w 177"/>
                <a:gd name="T9" fmla="*/ 6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20">
                  <a:moveTo>
                    <a:pt x="153" y="68"/>
                  </a:moveTo>
                  <a:cubicBezTo>
                    <a:pt x="130" y="32"/>
                    <a:pt x="78" y="5"/>
                    <a:pt x="22" y="2"/>
                  </a:cubicBezTo>
                  <a:cubicBezTo>
                    <a:pt x="0" y="0"/>
                    <a:pt x="85" y="46"/>
                    <a:pt x="117" y="92"/>
                  </a:cubicBezTo>
                  <a:cubicBezTo>
                    <a:pt x="142" y="128"/>
                    <a:pt x="169" y="188"/>
                    <a:pt x="177" y="220"/>
                  </a:cubicBezTo>
                  <a:cubicBezTo>
                    <a:pt x="176" y="152"/>
                    <a:pt x="177" y="105"/>
                    <a:pt x="153" y="68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ŝľ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AE0BDFD-1C6F-4549-BCAC-44949D8C4995}"/>
                </a:ext>
              </a:extLst>
            </p:cNvPr>
            <p:cNvSpPr/>
            <p:nvPr/>
          </p:nvSpPr>
          <p:spPr bwMode="auto">
            <a:xfrm>
              <a:off x="6021388" y="2257425"/>
              <a:ext cx="554038" cy="873125"/>
            </a:xfrm>
            <a:custGeom>
              <a:avLst/>
              <a:gdLst>
                <a:gd name="T0" fmla="*/ 147 w 168"/>
                <a:gd name="T1" fmla="*/ 106 h 265"/>
                <a:gd name="T2" fmla="*/ 21 w 168"/>
                <a:gd name="T3" fmla="*/ 7 h 265"/>
                <a:gd name="T4" fmla="*/ 113 w 168"/>
                <a:gd name="T5" fmla="*/ 130 h 265"/>
                <a:gd name="T6" fmla="*/ 163 w 168"/>
                <a:gd name="T7" fmla="*/ 265 h 265"/>
                <a:gd name="T8" fmla="*/ 147 w 168"/>
                <a:gd name="T9" fmla="*/ 10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65">
                  <a:moveTo>
                    <a:pt x="147" y="106"/>
                  </a:moveTo>
                  <a:cubicBezTo>
                    <a:pt x="125" y="64"/>
                    <a:pt x="75" y="23"/>
                    <a:pt x="21" y="7"/>
                  </a:cubicBezTo>
                  <a:cubicBezTo>
                    <a:pt x="0" y="0"/>
                    <a:pt x="88" y="74"/>
                    <a:pt x="113" y="130"/>
                  </a:cubicBezTo>
                  <a:cubicBezTo>
                    <a:pt x="133" y="174"/>
                    <a:pt x="157" y="230"/>
                    <a:pt x="163" y="265"/>
                  </a:cubicBezTo>
                  <a:cubicBezTo>
                    <a:pt x="165" y="196"/>
                    <a:pt x="168" y="148"/>
                    <a:pt x="147" y="106"/>
                  </a:cubicBezTo>
                  <a:close/>
                </a:path>
              </a:pathLst>
            </a:cu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śḻ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0E15C3-4534-434C-A4A4-4C49F68310D4}"/>
                </a:ext>
              </a:extLst>
            </p:cNvPr>
            <p:cNvSpPr/>
            <p:nvPr/>
          </p:nvSpPr>
          <p:spPr bwMode="auto">
            <a:xfrm>
              <a:off x="6354763" y="3740150"/>
              <a:ext cx="366713" cy="412750"/>
            </a:xfrm>
            <a:custGeom>
              <a:avLst/>
              <a:gdLst>
                <a:gd name="T0" fmla="*/ 56 w 111"/>
                <a:gd name="T1" fmla="*/ 125 h 125"/>
                <a:gd name="T2" fmla="*/ 56 w 111"/>
                <a:gd name="T3" fmla="*/ 125 h 125"/>
                <a:gd name="T4" fmla="*/ 106 w 111"/>
                <a:gd name="T5" fmla="*/ 78 h 125"/>
                <a:gd name="T6" fmla="*/ 111 w 111"/>
                <a:gd name="T7" fmla="*/ 0 h 125"/>
                <a:gd name="T8" fmla="*/ 0 w 111"/>
                <a:gd name="T9" fmla="*/ 0 h 125"/>
                <a:gd name="T10" fmla="*/ 5 w 111"/>
                <a:gd name="T11" fmla="*/ 78 h 125"/>
                <a:gd name="T12" fmla="*/ 56 w 111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25">
                  <a:moveTo>
                    <a:pt x="56" y="125"/>
                  </a:moveTo>
                  <a:cubicBezTo>
                    <a:pt x="56" y="125"/>
                    <a:pt x="56" y="125"/>
                    <a:pt x="56" y="125"/>
                  </a:cubicBezTo>
                  <a:cubicBezTo>
                    <a:pt x="82" y="125"/>
                    <a:pt x="105" y="104"/>
                    <a:pt x="106" y="78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104"/>
                    <a:pt x="29" y="125"/>
                    <a:pt x="56" y="125"/>
                  </a:cubicBez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$lï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46599AA-5BF6-4A8A-998C-77A0EF1214D5}"/>
                </a:ext>
              </a:extLst>
            </p:cNvPr>
            <p:cNvSpPr/>
            <p:nvPr/>
          </p:nvSpPr>
          <p:spPr bwMode="auto">
            <a:xfrm>
              <a:off x="6321426" y="3690938"/>
              <a:ext cx="433388" cy="104775"/>
            </a:xfrm>
            <a:custGeom>
              <a:avLst/>
              <a:gdLst>
                <a:gd name="T0" fmla="*/ 7 w 273"/>
                <a:gd name="T1" fmla="*/ 66 h 66"/>
                <a:gd name="T2" fmla="*/ 266 w 273"/>
                <a:gd name="T3" fmla="*/ 66 h 66"/>
                <a:gd name="T4" fmla="*/ 273 w 273"/>
                <a:gd name="T5" fmla="*/ 0 h 66"/>
                <a:gd name="T6" fmla="*/ 0 w 273"/>
                <a:gd name="T7" fmla="*/ 0 h 66"/>
                <a:gd name="T8" fmla="*/ 7 w 273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66">
                  <a:moveTo>
                    <a:pt x="7" y="66"/>
                  </a:moveTo>
                  <a:lnTo>
                    <a:pt x="266" y="66"/>
                  </a:lnTo>
                  <a:lnTo>
                    <a:pt x="273" y="0"/>
                  </a:lnTo>
                  <a:lnTo>
                    <a:pt x="0" y="0"/>
                  </a:lnTo>
                  <a:lnTo>
                    <a:pt x="7" y="66"/>
                  </a:lnTo>
                  <a:close/>
                </a:path>
              </a:pathLst>
            </a:custGeom>
            <a:solidFill>
              <a:srgbClr val="E3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ṥlí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7BBC4F3-1A41-4FE7-A2F6-F4671DB38F52}"/>
                </a:ext>
              </a:extLst>
            </p:cNvPr>
            <p:cNvSpPr/>
            <p:nvPr/>
          </p:nvSpPr>
          <p:spPr bwMode="auto">
            <a:xfrm>
              <a:off x="8080376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$ḻï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375D9B-B25A-4E24-B750-46678BAB3EB6}"/>
                </a:ext>
              </a:extLst>
            </p:cNvPr>
            <p:cNvSpPr/>
            <p:nvPr/>
          </p:nvSpPr>
          <p:spPr bwMode="auto">
            <a:xfrm>
              <a:off x="79454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ḷ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13ECF71-CADE-4CEA-B48A-4EC20C0657FD}"/>
                </a:ext>
              </a:extLst>
            </p:cNvPr>
            <p:cNvSpPr/>
            <p:nvPr/>
          </p:nvSpPr>
          <p:spPr bwMode="auto">
            <a:xfrm>
              <a:off x="7673976" y="1295400"/>
              <a:ext cx="271463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ḻï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F88353B-6089-4DF5-80CD-BB4EB15A7462}"/>
                </a:ext>
              </a:extLst>
            </p:cNvPr>
            <p:cNvSpPr/>
            <p:nvPr/>
          </p:nvSpPr>
          <p:spPr bwMode="auto">
            <a:xfrm>
              <a:off x="753903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š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2968224-E98B-43AE-9B15-6917F39C6457}"/>
                </a:ext>
              </a:extLst>
            </p:cNvPr>
            <p:cNvSpPr/>
            <p:nvPr/>
          </p:nvSpPr>
          <p:spPr bwMode="auto">
            <a:xfrm>
              <a:off x="7265988" y="1295400"/>
              <a:ext cx="273050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ṡľï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DBFBAC-3AA2-4A06-B47C-AF159BCF7B3F}"/>
                </a:ext>
              </a:extLst>
            </p:cNvPr>
            <p:cNvSpPr/>
            <p:nvPr/>
          </p:nvSpPr>
          <p:spPr bwMode="auto">
            <a:xfrm>
              <a:off x="7129463" y="1295400"/>
              <a:ext cx="136525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ş1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2016C51-1E06-468E-AB06-BD0576D9EBB9}"/>
                </a:ext>
              </a:extLst>
            </p:cNvPr>
            <p:cNvSpPr/>
            <p:nvPr/>
          </p:nvSpPr>
          <p:spPr bwMode="auto">
            <a:xfrm>
              <a:off x="6859588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şl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6735344-63A7-40A2-BFE9-22957B907170}"/>
                </a:ext>
              </a:extLst>
            </p:cNvPr>
            <p:cNvSpPr/>
            <p:nvPr/>
          </p:nvSpPr>
          <p:spPr bwMode="auto">
            <a:xfrm>
              <a:off x="6724651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Sḷ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C928CA4-9E75-4BE5-9AFD-8FB303D13331}"/>
                </a:ext>
              </a:extLst>
            </p:cNvPr>
            <p:cNvSpPr/>
            <p:nvPr/>
          </p:nvSpPr>
          <p:spPr bwMode="auto">
            <a:xfrm>
              <a:off x="6450013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ṡļ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A2FC70C-83BD-4D23-ABEC-4519E5C100EB}"/>
                </a:ext>
              </a:extLst>
            </p:cNvPr>
            <p:cNvSpPr/>
            <p:nvPr/>
          </p:nvSpPr>
          <p:spPr bwMode="auto">
            <a:xfrm>
              <a:off x="6315076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Sľ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F77E377-A15A-48CB-BFFC-FC2EA287669E}"/>
                </a:ext>
              </a:extLst>
            </p:cNvPr>
            <p:cNvSpPr/>
            <p:nvPr/>
          </p:nvSpPr>
          <p:spPr bwMode="auto">
            <a:xfrm>
              <a:off x="6045201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ļi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37250A-6566-4E0C-A23B-0AB1AA9975F6}"/>
                </a:ext>
              </a:extLst>
            </p:cNvPr>
            <p:cNvSpPr/>
            <p:nvPr/>
          </p:nvSpPr>
          <p:spPr bwMode="auto">
            <a:xfrm>
              <a:off x="5910263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ṣľ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326973D-C53D-4FC1-A3A1-313FC49DE609}"/>
                </a:ext>
              </a:extLst>
            </p:cNvPr>
            <p:cNvSpPr/>
            <p:nvPr/>
          </p:nvSpPr>
          <p:spPr bwMode="auto">
            <a:xfrm>
              <a:off x="5635626" y="1295400"/>
              <a:ext cx="274638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lí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D63D2A-39DC-4103-8283-3C770E7C7DFE}"/>
                </a:ext>
              </a:extLst>
            </p:cNvPr>
            <p:cNvSpPr/>
            <p:nvPr/>
          </p:nvSpPr>
          <p:spPr bwMode="auto">
            <a:xfrm>
              <a:off x="5500688" y="1295400"/>
              <a:ext cx="134938" cy="677863"/>
            </a:xfrm>
            <a:prstGeom prst="rect">
              <a:avLst/>
            </a:prstGeom>
            <a:solidFill>
              <a:srgbClr val="F3F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sl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7EE7A8-2B10-4B28-B39B-2FB897B6A659}"/>
                </a:ext>
              </a:extLst>
            </p:cNvPr>
            <p:cNvSpPr/>
            <p:nvPr/>
          </p:nvSpPr>
          <p:spPr bwMode="auto">
            <a:xfrm>
              <a:off x="5230813" y="1295400"/>
              <a:ext cx="269875" cy="738188"/>
            </a:xfrm>
            <a:prstGeom prst="rect">
              <a:avLst/>
            </a:prstGeom>
            <a:solidFill>
              <a:srgbClr val="D1E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ṡ1i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C051A56-5D91-4053-AE2F-1C96C0FF1BBE}"/>
                </a:ext>
              </a:extLst>
            </p:cNvPr>
            <p:cNvSpPr/>
            <p:nvPr/>
          </p:nvSpPr>
          <p:spPr bwMode="auto">
            <a:xfrm>
              <a:off x="3533776" y="5589588"/>
              <a:ext cx="5119688" cy="296863"/>
            </a:xfrm>
            <a:prstGeom prst="ellipse">
              <a:avLst/>
            </a:prstGeom>
            <a:solidFill>
              <a:srgbClr val="F0F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ṥ1î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AC7F7DE-E72A-4018-83DC-D5626E523348}"/>
                </a:ext>
              </a:extLst>
            </p:cNvPr>
            <p:cNvSpPr/>
            <p:nvPr/>
          </p:nvSpPr>
          <p:spPr bwMode="auto">
            <a:xfrm>
              <a:off x="7489826" y="2408238"/>
              <a:ext cx="333375" cy="752475"/>
            </a:xfrm>
            <a:custGeom>
              <a:avLst/>
              <a:gdLst>
                <a:gd name="T0" fmla="*/ 35 w 101"/>
                <a:gd name="T1" fmla="*/ 0 h 228"/>
                <a:gd name="T2" fmla="*/ 45 w 101"/>
                <a:gd name="T3" fmla="*/ 13 h 228"/>
                <a:gd name="T4" fmla="*/ 54 w 101"/>
                <a:gd name="T5" fmla="*/ 25 h 228"/>
                <a:gd name="T6" fmla="*/ 70 w 101"/>
                <a:gd name="T7" fmla="*/ 51 h 228"/>
                <a:gd name="T8" fmla="*/ 85 w 101"/>
                <a:gd name="T9" fmla="*/ 79 h 228"/>
                <a:gd name="T10" fmla="*/ 91 w 101"/>
                <a:gd name="T11" fmla="*/ 93 h 228"/>
                <a:gd name="T12" fmla="*/ 97 w 101"/>
                <a:gd name="T13" fmla="*/ 109 h 228"/>
                <a:gd name="T14" fmla="*/ 98 w 101"/>
                <a:gd name="T15" fmla="*/ 112 h 228"/>
                <a:gd name="T16" fmla="*/ 99 w 101"/>
                <a:gd name="T17" fmla="*/ 114 h 228"/>
                <a:gd name="T18" fmla="*/ 100 w 101"/>
                <a:gd name="T19" fmla="*/ 118 h 228"/>
                <a:gd name="T20" fmla="*/ 101 w 101"/>
                <a:gd name="T21" fmla="*/ 131 h 228"/>
                <a:gd name="T22" fmla="*/ 96 w 101"/>
                <a:gd name="T23" fmla="*/ 150 h 228"/>
                <a:gd name="T24" fmla="*/ 81 w 101"/>
                <a:gd name="T25" fmla="*/ 180 h 228"/>
                <a:gd name="T26" fmla="*/ 42 w 101"/>
                <a:gd name="T27" fmla="*/ 228 h 228"/>
                <a:gd name="T28" fmla="*/ 25 w 101"/>
                <a:gd name="T29" fmla="*/ 214 h 228"/>
                <a:gd name="T30" fmla="*/ 51 w 101"/>
                <a:gd name="T31" fmla="*/ 164 h 228"/>
                <a:gd name="T32" fmla="*/ 60 w 101"/>
                <a:gd name="T33" fmla="*/ 139 h 228"/>
                <a:gd name="T34" fmla="*/ 61 w 101"/>
                <a:gd name="T35" fmla="*/ 129 h 228"/>
                <a:gd name="T36" fmla="*/ 61 w 101"/>
                <a:gd name="T37" fmla="*/ 127 h 228"/>
                <a:gd name="T38" fmla="*/ 61 w 101"/>
                <a:gd name="T39" fmla="*/ 127 h 228"/>
                <a:gd name="T40" fmla="*/ 60 w 101"/>
                <a:gd name="T41" fmla="*/ 126 h 228"/>
                <a:gd name="T42" fmla="*/ 59 w 101"/>
                <a:gd name="T43" fmla="*/ 123 h 228"/>
                <a:gd name="T44" fmla="*/ 32 w 101"/>
                <a:gd name="T45" fmla="*/ 74 h 228"/>
                <a:gd name="T46" fmla="*/ 17 w 101"/>
                <a:gd name="T47" fmla="*/ 51 h 228"/>
                <a:gd name="T48" fmla="*/ 0 w 101"/>
                <a:gd name="T49" fmla="*/ 28 h 228"/>
                <a:gd name="T50" fmla="*/ 35 w 101"/>
                <a:gd name="T5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1" h="228">
                  <a:moveTo>
                    <a:pt x="35" y="0"/>
                  </a:moveTo>
                  <a:cubicBezTo>
                    <a:pt x="38" y="5"/>
                    <a:pt x="41" y="9"/>
                    <a:pt x="45" y="13"/>
                  </a:cubicBezTo>
                  <a:cubicBezTo>
                    <a:pt x="48" y="17"/>
                    <a:pt x="51" y="21"/>
                    <a:pt x="54" y="25"/>
                  </a:cubicBezTo>
                  <a:cubicBezTo>
                    <a:pt x="59" y="34"/>
                    <a:pt x="65" y="42"/>
                    <a:pt x="70" y="51"/>
                  </a:cubicBezTo>
                  <a:cubicBezTo>
                    <a:pt x="75" y="60"/>
                    <a:pt x="80" y="69"/>
                    <a:pt x="85" y="79"/>
                  </a:cubicBezTo>
                  <a:cubicBezTo>
                    <a:pt x="87" y="84"/>
                    <a:pt x="89" y="89"/>
                    <a:pt x="91" y="93"/>
                  </a:cubicBezTo>
                  <a:cubicBezTo>
                    <a:pt x="93" y="98"/>
                    <a:pt x="95" y="103"/>
                    <a:pt x="97" y="109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99" y="114"/>
                    <a:pt x="99" y="114"/>
                    <a:pt x="99" y="114"/>
                  </a:cubicBezTo>
                  <a:cubicBezTo>
                    <a:pt x="99" y="116"/>
                    <a:pt x="99" y="117"/>
                    <a:pt x="100" y="118"/>
                  </a:cubicBezTo>
                  <a:cubicBezTo>
                    <a:pt x="101" y="123"/>
                    <a:pt x="101" y="127"/>
                    <a:pt x="101" y="131"/>
                  </a:cubicBezTo>
                  <a:cubicBezTo>
                    <a:pt x="100" y="138"/>
                    <a:pt x="98" y="144"/>
                    <a:pt x="96" y="150"/>
                  </a:cubicBezTo>
                  <a:cubicBezTo>
                    <a:pt x="92" y="161"/>
                    <a:pt x="87" y="171"/>
                    <a:pt x="81" y="180"/>
                  </a:cubicBezTo>
                  <a:cubicBezTo>
                    <a:pt x="70" y="198"/>
                    <a:pt x="57" y="213"/>
                    <a:pt x="42" y="228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35" y="198"/>
                    <a:pt x="44" y="180"/>
                    <a:pt x="51" y="164"/>
                  </a:cubicBezTo>
                  <a:cubicBezTo>
                    <a:pt x="55" y="155"/>
                    <a:pt x="58" y="147"/>
                    <a:pt x="60" y="139"/>
                  </a:cubicBezTo>
                  <a:cubicBezTo>
                    <a:pt x="61" y="135"/>
                    <a:pt x="61" y="132"/>
                    <a:pt x="61" y="129"/>
                  </a:cubicBezTo>
                  <a:cubicBezTo>
                    <a:pt x="61" y="128"/>
                    <a:pt x="61" y="128"/>
                    <a:pt x="61" y="127"/>
                  </a:cubicBezTo>
                  <a:cubicBezTo>
                    <a:pt x="61" y="127"/>
                    <a:pt x="61" y="127"/>
                    <a:pt x="61" y="127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2" y="106"/>
                    <a:pt x="42" y="90"/>
                    <a:pt x="32" y="74"/>
                  </a:cubicBezTo>
                  <a:cubicBezTo>
                    <a:pt x="27" y="66"/>
                    <a:pt x="22" y="59"/>
                    <a:pt x="17" y="51"/>
                  </a:cubicBezTo>
                  <a:cubicBezTo>
                    <a:pt x="11" y="43"/>
                    <a:pt x="5" y="35"/>
                    <a:pt x="0" y="28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śľi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190208E-2689-4701-8BB5-A9D52D70BC2B}"/>
                </a:ext>
              </a:extLst>
            </p:cNvPr>
            <p:cNvSpPr/>
            <p:nvPr/>
          </p:nvSpPr>
          <p:spPr bwMode="auto">
            <a:xfrm>
              <a:off x="7523163" y="3094038"/>
              <a:ext cx="122238" cy="119063"/>
            </a:xfrm>
            <a:custGeom>
              <a:avLst/>
              <a:gdLst>
                <a:gd name="T0" fmla="*/ 21 w 37"/>
                <a:gd name="T1" fmla="*/ 0 h 36"/>
                <a:gd name="T2" fmla="*/ 0 w 37"/>
                <a:gd name="T3" fmla="*/ 4 h 36"/>
                <a:gd name="T4" fmla="*/ 19 w 37"/>
                <a:gd name="T5" fmla="*/ 36 h 36"/>
                <a:gd name="T6" fmla="*/ 37 w 37"/>
                <a:gd name="T7" fmla="*/ 15 h 36"/>
                <a:gd name="T8" fmla="*/ 21 w 3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2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34" y="29"/>
                    <a:pt x="37" y="15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š1î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9A1F855-E411-4D8C-A494-8E2F06250ABA}"/>
                </a:ext>
              </a:extLst>
            </p:cNvPr>
            <p:cNvSpPr/>
            <p:nvPr/>
          </p:nvSpPr>
          <p:spPr bwMode="auto">
            <a:xfrm>
              <a:off x="7446963" y="3108325"/>
              <a:ext cx="138113" cy="120650"/>
            </a:xfrm>
            <a:custGeom>
              <a:avLst/>
              <a:gdLst>
                <a:gd name="T0" fmla="*/ 0 w 87"/>
                <a:gd name="T1" fmla="*/ 22 h 76"/>
                <a:gd name="T2" fmla="*/ 35 w 87"/>
                <a:gd name="T3" fmla="*/ 76 h 76"/>
                <a:gd name="T4" fmla="*/ 87 w 87"/>
                <a:gd name="T5" fmla="*/ 66 h 76"/>
                <a:gd name="T6" fmla="*/ 48 w 87"/>
                <a:gd name="T7" fmla="*/ 0 h 76"/>
                <a:gd name="T8" fmla="*/ 0 w 87"/>
                <a:gd name="T9" fmla="*/ 2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76">
                  <a:moveTo>
                    <a:pt x="0" y="22"/>
                  </a:moveTo>
                  <a:lnTo>
                    <a:pt x="35" y="76"/>
                  </a:lnTo>
                  <a:lnTo>
                    <a:pt x="87" y="66"/>
                  </a:lnTo>
                  <a:lnTo>
                    <a:pt x="48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sl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563489-76BA-4246-987D-7D52312B951D}"/>
                </a:ext>
              </a:extLst>
            </p:cNvPr>
            <p:cNvSpPr/>
            <p:nvPr/>
          </p:nvSpPr>
          <p:spPr bwMode="auto">
            <a:xfrm>
              <a:off x="7107238" y="1970088"/>
              <a:ext cx="15875" cy="30163"/>
            </a:xfrm>
            <a:prstGeom prst="ellipse">
              <a:avLst/>
            </a:pr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šļí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C241013-4793-4B15-8196-5E636203A62B}"/>
                </a:ext>
              </a:extLst>
            </p:cNvPr>
            <p:cNvSpPr/>
            <p:nvPr/>
          </p:nvSpPr>
          <p:spPr bwMode="auto">
            <a:xfrm>
              <a:off x="7083426" y="2000250"/>
              <a:ext cx="36513" cy="79375"/>
            </a:xfrm>
            <a:custGeom>
              <a:avLst/>
              <a:gdLst>
                <a:gd name="T0" fmla="*/ 11 w 11"/>
                <a:gd name="T1" fmla="*/ 0 h 24"/>
                <a:gd name="T2" fmla="*/ 0 w 11"/>
                <a:gd name="T3" fmla="*/ 20 h 24"/>
                <a:gd name="T4" fmla="*/ 11 w 11"/>
                <a:gd name="T5" fmla="*/ 22 h 24"/>
                <a:gd name="T6" fmla="*/ 11 w 11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4">
                  <a:moveTo>
                    <a:pt x="11" y="0"/>
                  </a:moveTo>
                  <a:cubicBezTo>
                    <a:pt x="11" y="0"/>
                    <a:pt x="6" y="13"/>
                    <a:pt x="0" y="20"/>
                  </a:cubicBezTo>
                  <a:cubicBezTo>
                    <a:pt x="4" y="24"/>
                    <a:pt x="11" y="22"/>
                    <a:pt x="11" y="22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A02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š1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219C68D-BE67-4E4B-BA2C-6FDD97548D29}"/>
                </a:ext>
              </a:extLst>
            </p:cNvPr>
            <p:cNvSpPr/>
            <p:nvPr/>
          </p:nvSpPr>
          <p:spPr bwMode="auto">
            <a:xfrm>
              <a:off x="7110413" y="1917700"/>
              <a:ext cx="46038" cy="22225"/>
            </a:xfrm>
            <a:custGeom>
              <a:avLst/>
              <a:gdLst>
                <a:gd name="T0" fmla="*/ 13 w 14"/>
                <a:gd name="T1" fmla="*/ 7 h 7"/>
                <a:gd name="T2" fmla="*/ 12 w 14"/>
                <a:gd name="T3" fmla="*/ 7 h 7"/>
                <a:gd name="T4" fmla="*/ 2 w 14"/>
                <a:gd name="T5" fmla="*/ 5 h 7"/>
                <a:gd name="T6" fmla="*/ 0 w 14"/>
                <a:gd name="T7" fmla="*/ 4 h 7"/>
                <a:gd name="T8" fmla="*/ 1 w 14"/>
                <a:gd name="T9" fmla="*/ 3 h 7"/>
                <a:gd name="T10" fmla="*/ 14 w 14"/>
                <a:gd name="T11" fmla="*/ 5 h 7"/>
                <a:gd name="T12" fmla="*/ 14 w 14"/>
                <a:gd name="T13" fmla="*/ 7 h 7"/>
                <a:gd name="T14" fmla="*/ 13 w 14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7">
                  <a:moveTo>
                    <a:pt x="13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7" y="3"/>
                    <a:pt x="2" y="5"/>
                    <a:pt x="2" y="5"/>
                  </a:cubicBezTo>
                  <a:cubicBezTo>
                    <a:pt x="1" y="5"/>
                    <a:pt x="1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7" y="0"/>
                    <a:pt x="14" y="5"/>
                  </a:cubicBezTo>
                  <a:cubicBezTo>
                    <a:pt x="14" y="5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$1ï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774063F-021C-41CC-9269-4D59BCEA57DE}"/>
                </a:ext>
              </a:extLst>
            </p:cNvPr>
            <p:cNvSpPr/>
            <p:nvPr/>
          </p:nvSpPr>
          <p:spPr bwMode="auto">
            <a:xfrm>
              <a:off x="7104063" y="2076450"/>
              <a:ext cx="296863" cy="319088"/>
            </a:xfrm>
            <a:custGeom>
              <a:avLst/>
              <a:gdLst>
                <a:gd name="T0" fmla="*/ 83 w 90"/>
                <a:gd name="T1" fmla="*/ 0 h 97"/>
                <a:gd name="T2" fmla="*/ 90 w 90"/>
                <a:gd name="T3" fmla="*/ 75 h 97"/>
                <a:gd name="T4" fmla="*/ 44 w 90"/>
                <a:gd name="T5" fmla="*/ 97 h 97"/>
                <a:gd name="T6" fmla="*/ 23 w 90"/>
                <a:gd name="T7" fmla="*/ 75 h 97"/>
                <a:gd name="T8" fmla="*/ 42 w 90"/>
                <a:gd name="T9" fmla="*/ 35 h 97"/>
                <a:gd name="T10" fmla="*/ 83 w 90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7">
                  <a:moveTo>
                    <a:pt x="83" y="0"/>
                  </a:moveTo>
                  <a:cubicBezTo>
                    <a:pt x="79" y="21"/>
                    <a:pt x="74" y="61"/>
                    <a:pt x="90" y="75"/>
                  </a:cubicBezTo>
                  <a:cubicBezTo>
                    <a:pt x="90" y="75"/>
                    <a:pt x="84" y="97"/>
                    <a:pt x="44" y="97"/>
                  </a:cubicBezTo>
                  <a:cubicBezTo>
                    <a:pt x="0" y="97"/>
                    <a:pt x="23" y="75"/>
                    <a:pt x="23" y="75"/>
                  </a:cubicBezTo>
                  <a:cubicBezTo>
                    <a:pt x="47" y="69"/>
                    <a:pt x="46" y="51"/>
                    <a:pt x="42" y="35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l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B4078AD-ACC2-4149-AF74-8CA40BFC0C7F}"/>
                </a:ext>
              </a:extLst>
            </p:cNvPr>
            <p:cNvSpPr/>
            <p:nvPr/>
          </p:nvSpPr>
          <p:spPr bwMode="auto">
            <a:xfrm>
              <a:off x="7150101" y="2273300"/>
              <a:ext cx="290513" cy="79375"/>
            </a:xfrm>
            <a:custGeom>
              <a:avLst/>
              <a:gdLst>
                <a:gd name="T0" fmla="*/ 81 w 88"/>
                <a:gd name="T1" fmla="*/ 22 h 24"/>
                <a:gd name="T2" fmla="*/ 81 w 88"/>
                <a:gd name="T3" fmla="*/ 5 h 24"/>
                <a:gd name="T4" fmla="*/ 15 w 88"/>
                <a:gd name="T5" fmla="*/ 5 h 24"/>
                <a:gd name="T6" fmla="*/ 4 w 88"/>
                <a:gd name="T7" fmla="*/ 24 h 24"/>
                <a:gd name="T8" fmla="*/ 81 w 88"/>
                <a:gd name="T9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4">
                  <a:moveTo>
                    <a:pt x="81" y="22"/>
                  </a:moveTo>
                  <a:cubicBezTo>
                    <a:pt x="84" y="16"/>
                    <a:pt x="88" y="8"/>
                    <a:pt x="81" y="5"/>
                  </a:cubicBezTo>
                  <a:cubicBezTo>
                    <a:pt x="73" y="2"/>
                    <a:pt x="30" y="0"/>
                    <a:pt x="15" y="5"/>
                  </a:cubicBezTo>
                  <a:cubicBezTo>
                    <a:pt x="0" y="10"/>
                    <a:pt x="4" y="24"/>
                    <a:pt x="4" y="24"/>
                  </a:cubicBezTo>
                  <a:lnTo>
                    <a:pt x="81" y="2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1i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19B4FAC-3DB1-4BAF-B96D-BEFB7872BD79}"/>
                </a:ext>
              </a:extLst>
            </p:cNvPr>
            <p:cNvSpPr/>
            <p:nvPr/>
          </p:nvSpPr>
          <p:spPr bwMode="auto">
            <a:xfrm>
              <a:off x="7697788" y="5629275"/>
              <a:ext cx="52388" cy="26988"/>
            </a:xfrm>
            <a:custGeom>
              <a:avLst/>
              <a:gdLst>
                <a:gd name="T0" fmla="*/ 8 w 16"/>
                <a:gd name="T1" fmla="*/ 8 h 8"/>
                <a:gd name="T2" fmla="*/ 1 w 16"/>
                <a:gd name="T3" fmla="*/ 6 h 8"/>
                <a:gd name="T4" fmla="*/ 1 w 16"/>
                <a:gd name="T5" fmla="*/ 3 h 8"/>
                <a:gd name="T6" fmla="*/ 3 w 16"/>
                <a:gd name="T7" fmla="*/ 1 h 8"/>
                <a:gd name="T8" fmla="*/ 16 w 16"/>
                <a:gd name="T9" fmla="*/ 6 h 8"/>
                <a:gd name="T10" fmla="*/ 16 w 16"/>
                <a:gd name="T11" fmla="*/ 7 h 8"/>
                <a:gd name="T12" fmla="*/ 15 w 16"/>
                <a:gd name="T13" fmla="*/ 7 h 8"/>
                <a:gd name="T14" fmla="*/ 8 w 16"/>
                <a:gd name="T15" fmla="*/ 8 h 8"/>
                <a:gd name="T16" fmla="*/ 4 w 16"/>
                <a:gd name="T17" fmla="*/ 2 h 8"/>
                <a:gd name="T18" fmla="*/ 3 w 16"/>
                <a:gd name="T19" fmla="*/ 3 h 8"/>
                <a:gd name="T20" fmla="*/ 2 w 16"/>
                <a:gd name="T21" fmla="*/ 4 h 8"/>
                <a:gd name="T22" fmla="*/ 2 w 16"/>
                <a:gd name="T23" fmla="*/ 5 h 8"/>
                <a:gd name="T24" fmla="*/ 14 w 16"/>
                <a:gd name="T25" fmla="*/ 6 h 8"/>
                <a:gd name="T26" fmla="*/ 4 w 16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cubicBezTo>
                    <a:pt x="5" y="8"/>
                    <a:pt x="2" y="8"/>
                    <a:pt x="1" y="6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7" y="0"/>
                    <a:pt x="15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8"/>
                    <a:pt x="11" y="8"/>
                    <a:pt x="8" y="8"/>
                  </a:cubicBezTo>
                  <a:close/>
                  <a:moveTo>
                    <a:pt x="4" y="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7"/>
                    <a:pt x="9" y="7"/>
                    <a:pt x="14" y="6"/>
                  </a:cubicBezTo>
                  <a:cubicBezTo>
                    <a:pt x="11" y="5"/>
                    <a:pt x="7" y="2"/>
                    <a:pt x="4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ṩļ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926BD27-E945-45F8-A43C-465C5FE1566D}"/>
                </a:ext>
              </a:extLst>
            </p:cNvPr>
            <p:cNvSpPr/>
            <p:nvPr/>
          </p:nvSpPr>
          <p:spPr bwMode="auto">
            <a:xfrm>
              <a:off x="7716838" y="5608638"/>
              <a:ext cx="33338" cy="42863"/>
            </a:xfrm>
            <a:custGeom>
              <a:avLst/>
              <a:gdLst>
                <a:gd name="T0" fmla="*/ 9 w 10"/>
                <a:gd name="T1" fmla="*/ 13 h 13"/>
                <a:gd name="T2" fmla="*/ 9 w 10"/>
                <a:gd name="T3" fmla="*/ 13 h 13"/>
                <a:gd name="T4" fmla="*/ 1 w 10"/>
                <a:gd name="T5" fmla="*/ 2 h 13"/>
                <a:gd name="T6" fmla="*/ 3 w 10"/>
                <a:gd name="T7" fmla="*/ 0 h 13"/>
                <a:gd name="T8" fmla="*/ 6 w 10"/>
                <a:gd name="T9" fmla="*/ 1 h 13"/>
                <a:gd name="T10" fmla="*/ 10 w 10"/>
                <a:gd name="T11" fmla="*/ 13 h 13"/>
                <a:gd name="T12" fmla="*/ 10 w 10"/>
                <a:gd name="T13" fmla="*/ 13 h 13"/>
                <a:gd name="T14" fmla="*/ 9 w 10"/>
                <a:gd name="T15" fmla="*/ 13 h 13"/>
                <a:gd name="T16" fmla="*/ 3 w 10"/>
                <a:gd name="T17" fmla="*/ 1 h 13"/>
                <a:gd name="T18" fmla="*/ 3 w 10"/>
                <a:gd name="T19" fmla="*/ 1 h 13"/>
                <a:gd name="T20" fmla="*/ 2 w 10"/>
                <a:gd name="T21" fmla="*/ 2 h 13"/>
                <a:gd name="T22" fmla="*/ 8 w 10"/>
                <a:gd name="T23" fmla="*/ 11 h 13"/>
                <a:gd name="T24" fmla="*/ 5 w 10"/>
                <a:gd name="T25" fmla="*/ 2 h 13"/>
                <a:gd name="T26" fmla="*/ 3 w 10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3">
                  <a:moveTo>
                    <a:pt x="9" y="13"/>
                  </a:moveTo>
                  <a:cubicBezTo>
                    <a:pt x="9" y="13"/>
                    <a:pt x="9" y="13"/>
                    <a:pt x="9" y="13"/>
                  </a:cubicBezTo>
                  <a:cubicBezTo>
                    <a:pt x="6" y="12"/>
                    <a:pt x="0" y="5"/>
                    <a:pt x="1" y="2"/>
                  </a:cubicBezTo>
                  <a:cubicBezTo>
                    <a:pt x="1" y="1"/>
                    <a:pt x="1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9" y="4"/>
                    <a:pt x="10" y="12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lnTo>
                    <a:pt x="9" y="13"/>
                  </a:lnTo>
                  <a:close/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4"/>
                    <a:pt x="5" y="9"/>
                    <a:pt x="8" y="11"/>
                  </a:cubicBezTo>
                  <a:cubicBezTo>
                    <a:pt x="8" y="9"/>
                    <a:pt x="7" y="4"/>
                    <a:pt x="5" y="2"/>
                  </a:cubicBezTo>
                  <a:cubicBezTo>
                    <a:pt x="4" y="2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ṡ1i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557CF22-BEE8-40FA-9F73-D3FE3A4E7E36}"/>
                </a:ext>
              </a:extLst>
            </p:cNvPr>
            <p:cNvSpPr/>
            <p:nvPr/>
          </p:nvSpPr>
          <p:spPr bwMode="auto">
            <a:xfrm>
              <a:off x="7110413" y="5629275"/>
              <a:ext cx="61913" cy="26988"/>
            </a:xfrm>
            <a:custGeom>
              <a:avLst/>
              <a:gdLst>
                <a:gd name="T0" fmla="*/ 9 w 19"/>
                <a:gd name="T1" fmla="*/ 8 h 8"/>
                <a:gd name="T2" fmla="*/ 1 w 19"/>
                <a:gd name="T3" fmla="*/ 6 h 8"/>
                <a:gd name="T4" fmla="*/ 1 w 19"/>
                <a:gd name="T5" fmla="*/ 3 h 8"/>
                <a:gd name="T6" fmla="*/ 3 w 19"/>
                <a:gd name="T7" fmla="*/ 1 h 8"/>
                <a:gd name="T8" fmla="*/ 19 w 19"/>
                <a:gd name="T9" fmla="*/ 6 h 8"/>
                <a:gd name="T10" fmla="*/ 19 w 19"/>
                <a:gd name="T11" fmla="*/ 7 h 8"/>
                <a:gd name="T12" fmla="*/ 18 w 19"/>
                <a:gd name="T13" fmla="*/ 7 h 8"/>
                <a:gd name="T14" fmla="*/ 9 w 19"/>
                <a:gd name="T15" fmla="*/ 8 h 8"/>
                <a:gd name="T16" fmla="*/ 5 w 19"/>
                <a:gd name="T17" fmla="*/ 2 h 8"/>
                <a:gd name="T18" fmla="*/ 3 w 19"/>
                <a:gd name="T19" fmla="*/ 3 h 8"/>
                <a:gd name="T20" fmla="*/ 2 w 19"/>
                <a:gd name="T21" fmla="*/ 4 h 8"/>
                <a:gd name="T22" fmla="*/ 2 w 19"/>
                <a:gd name="T23" fmla="*/ 5 h 8"/>
                <a:gd name="T24" fmla="*/ 16 w 19"/>
                <a:gd name="T25" fmla="*/ 6 h 8"/>
                <a:gd name="T26" fmla="*/ 5 w 19"/>
                <a:gd name="T2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8">
                  <a:moveTo>
                    <a:pt x="9" y="8"/>
                  </a:moveTo>
                  <a:cubicBezTo>
                    <a:pt x="6" y="8"/>
                    <a:pt x="2" y="8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8" y="0"/>
                    <a:pt x="18" y="6"/>
                    <a:pt x="19" y="6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8"/>
                    <a:pt x="13" y="8"/>
                    <a:pt x="9" y="8"/>
                  </a:cubicBezTo>
                  <a:close/>
                  <a:moveTo>
                    <a:pt x="5" y="2"/>
                  </a:move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3" y="7"/>
                    <a:pt x="11" y="7"/>
                    <a:pt x="16" y="6"/>
                  </a:cubicBezTo>
                  <a:cubicBezTo>
                    <a:pt x="13" y="5"/>
                    <a:pt x="8" y="2"/>
                    <a:pt x="5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ṡḷí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3D39A09-88D8-4374-8673-B341131A5CF5}"/>
                </a:ext>
              </a:extLst>
            </p:cNvPr>
            <p:cNvSpPr/>
            <p:nvPr/>
          </p:nvSpPr>
          <p:spPr bwMode="auto">
            <a:xfrm>
              <a:off x="7132638" y="5608638"/>
              <a:ext cx="39688" cy="42863"/>
            </a:xfrm>
            <a:custGeom>
              <a:avLst/>
              <a:gdLst>
                <a:gd name="T0" fmla="*/ 11 w 12"/>
                <a:gd name="T1" fmla="*/ 13 h 13"/>
                <a:gd name="T2" fmla="*/ 11 w 12"/>
                <a:gd name="T3" fmla="*/ 13 h 13"/>
                <a:gd name="T4" fmla="*/ 1 w 12"/>
                <a:gd name="T5" fmla="*/ 2 h 13"/>
                <a:gd name="T6" fmla="*/ 4 w 12"/>
                <a:gd name="T7" fmla="*/ 0 h 13"/>
                <a:gd name="T8" fmla="*/ 7 w 12"/>
                <a:gd name="T9" fmla="*/ 1 h 13"/>
                <a:gd name="T10" fmla="*/ 12 w 12"/>
                <a:gd name="T11" fmla="*/ 13 h 13"/>
                <a:gd name="T12" fmla="*/ 12 w 12"/>
                <a:gd name="T13" fmla="*/ 13 h 13"/>
                <a:gd name="T14" fmla="*/ 11 w 12"/>
                <a:gd name="T15" fmla="*/ 13 h 13"/>
                <a:gd name="T16" fmla="*/ 4 w 12"/>
                <a:gd name="T17" fmla="*/ 1 h 13"/>
                <a:gd name="T18" fmla="*/ 4 w 12"/>
                <a:gd name="T19" fmla="*/ 1 h 13"/>
                <a:gd name="T20" fmla="*/ 2 w 12"/>
                <a:gd name="T21" fmla="*/ 2 h 13"/>
                <a:gd name="T22" fmla="*/ 10 w 12"/>
                <a:gd name="T23" fmla="*/ 11 h 13"/>
                <a:gd name="T24" fmla="*/ 6 w 12"/>
                <a:gd name="T25" fmla="*/ 2 h 13"/>
                <a:gd name="T26" fmla="*/ 4 w 12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3">
                  <a:moveTo>
                    <a:pt x="11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7" y="12"/>
                    <a:pt x="0" y="5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11" y="4"/>
                    <a:pt x="12" y="12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lnTo>
                    <a:pt x="11" y="13"/>
                  </a:lnTo>
                  <a:close/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7" y="9"/>
                    <a:pt x="10" y="11"/>
                  </a:cubicBezTo>
                  <a:cubicBezTo>
                    <a:pt x="10" y="9"/>
                    <a:pt x="9" y="4"/>
                    <a:pt x="6" y="2"/>
                  </a:cubicBezTo>
                  <a:cubicBezTo>
                    <a:pt x="6" y="2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ṥľï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09304BF-C8EB-40CB-ACC2-B4861E2D97D7}"/>
                </a:ext>
              </a:extLst>
            </p:cNvPr>
            <p:cNvSpPr/>
            <p:nvPr/>
          </p:nvSpPr>
          <p:spPr bwMode="auto">
            <a:xfrm>
              <a:off x="7169151" y="5427663"/>
              <a:ext cx="109538" cy="223838"/>
            </a:xfrm>
            <a:custGeom>
              <a:avLst/>
              <a:gdLst>
                <a:gd name="T0" fmla="*/ 69 w 69"/>
                <a:gd name="T1" fmla="*/ 141 h 141"/>
                <a:gd name="T2" fmla="*/ 7 w 69"/>
                <a:gd name="T3" fmla="*/ 141 h 141"/>
                <a:gd name="T4" fmla="*/ 0 w 69"/>
                <a:gd name="T5" fmla="*/ 0 h 141"/>
                <a:gd name="T6" fmla="*/ 63 w 69"/>
                <a:gd name="T7" fmla="*/ 0 h 141"/>
                <a:gd name="T8" fmla="*/ 69 w 69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41">
                  <a:moveTo>
                    <a:pt x="69" y="141"/>
                  </a:moveTo>
                  <a:lnTo>
                    <a:pt x="7" y="141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9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ḻï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4167F81-9981-477B-BBEA-204433EA8D3D}"/>
                </a:ext>
              </a:extLst>
            </p:cNvPr>
            <p:cNvSpPr/>
            <p:nvPr/>
          </p:nvSpPr>
          <p:spPr bwMode="auto">
            <a:xfrm>
              <a:off x="7713663" y="5427663"/>
              <a:ext cx="146050" cy="223838"/>
            </a:xfrm>
            <a:custGeom>
              <a:avLst/>
              <a:gdLst>
                <a:gd name="T0" fmla="*/ 92 w 92"/>
                <a:gd name="T1" fmla="*/ 141 h 141"/>
                <a:gd name="T2" fmla="*/ 31 w 92"/>
                <a:gd name="T3" fmla="*/ 141 h 141"/>
                <a:gd name="T4" fmla="*/ 0 w 92"/>
                <a:gd name="T5" fmla="*/ 0 h 141"/>
                <a:gd name="T6" fmla="*/ 60 w 92"/>
                <a:gd name="T7" fmla="*/ 0 h 141"/>
                <a:gd name="T8" fmla="*/ 92 w 92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41">
                  <a:moveTo>
                    <a:pt x="92" y="141"/>
                  </a:moveTo>
                  <a:lnTo>
                    <a:pt x="31" y="141"/>
                  </a:lnTo>
                  <a:lnTo>
                    <a:pt x="0" y="0"/>
                  </a:lnTo>
                  <a:lnTo>
                    <a:pt x="60" y="0"/>
                  </a:lnTo>
                  <a:lnTo>
                    <a:pt x="92" y="14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ś1î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30B179A-584E-49D4-8291-373B50FABEA7}"/>
                </a:ext>
              </a:extLst>
            </p:cNvPr>
            <p:cNvSpPr/>
            <p:nvPr/>
          </p:nvSpPr>
          <p:spPr bwMode="auto">
            <a:xfrm>
              <a:off x="7594601" y="5638800"/>
              <a:ext cx="296863" cy="112713"/>
            </a:xfrm>
            <a:custGeom>
              <a:avLst/>
              <a:gdLst>
                <a:gd name="T0" fmla="*/ 49 w 90"/>
                <a:gd name="T1" fmla="*/ 0 h 34"/>
                <a:gd name="T2" fmla="*/ 82 w 90"/>
                <a:gd name="T3" fmla="*/ 0 h 34"/>
                <a:gd name="T4" fmla="*/ 84 w 90"/>
                <a:gd name="T5" fmla="*/ 2 h 34"/>
                <a:gd name="T6" fmla="*/ 90 w 90"/>
                <a:gd name="T7" fmla="*/ 28 h 34"/>
                <a:gd name="T8" fmla="*/ 86 w 90"/>
                <a:gd name="T9" fmla="*/ 34 h 34"/>
                <a:gd name="T10" fmla="*/ 54 w 90"/>
                <a:gd name="T11" fmla="*/ 33 h 34"/>
                <a:gd name="T12" fmla="*/ 14 w 90"/>
                <a:gd name="T13" fmla="*/ 34 h 34"/>
                <a:gd name="T14" fmla="*/ 5 w 90"/>
                <a:gd name="T15" fmla="*/ 20 h 34"/>
                <a:gd name="T16" fmla="*/ 44 w 90"/>
                <a:gd name="T17" fmla="*/ 2 h 34"/>
                <a:gd name="T18" fmla="*/ 49 w 90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34">
                  <a:moveTo>
                    <a:pt x="49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1"/>
                    <a:pt x="84" y="2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31"/>
                    <a:pt x="88" y="34"/>
                    <a:pt x="86" y="34"/>
                  </a:cubicBezTo>
                  <a:cubicBezTo>
                    <a:pt x="74" y="33"/>
                    <a:pt x="68" y="33"/>
                    <a:pt x="54" y="33"/>
                  </a:cubicBezTo>
                  <a:cubicBezTo>
                    <a:pt x="45" y="33"/>
                    <a:pt x="27" y="34"/>
                    <a:pt x="14" y="34"/>
                  </a:cubicBezTo>
                  <a:cubicBezTo>
                    <a:pt x="2" y="34"/>
                    <a:pt x="0" y="21"/>
                    <a:pt x="5" y="20"/>
                  </a:cubicBezTo>
                  <a:cubicBezTo>
                    <a:pt x="28" y="15"/>
                    <a:pt x="36" y="8"/>
                    <a:pt x="44" y="2"/>
                  </a:cubicBezTo>
                  <a:cubicBezTo>
                    <a:pt x="45" y="1"/>
                    <a:pt x="47" y="0"/>
                    <a:pt x="49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ś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E73C266-01C9-4FC4-9BA7-FE9A39D2174D}"/>
                </a:ext>
              </a:extLst>
            </p:cNvPr>
            <p:cNvSpPr/>
            <p:nvPr/>
          </p:nvSpPr>
          <p:spPr bwMode="auto">
            <a:xfrm>
              <a:off x="6938963" y="5638800"/>
              <a:ext cx="376238" cy="112713"/>
            </a:xfrm>
            <a:custGeom>
              <a:avLst/>
              <a:gdLst>
                <a:gd name="T0" fmla="*/ 73 w 114"/>
                <a:gd name="T1" fmla="*/ 0 h 34"/>
                <a:gd name="T2" fmla="*/ 105 w 114"/>
                <a:gd name="T3" fmla="*/ 0 h 34"/>
                <a:gd name="T4" fmla="*/ 108 w 114"/>
                <a:gd name="T5" fmla="*/ 2 h 34"/>
                <a:gd name="T6" fmla="*/ 114 w 114"/>
                <a:gd name="T7" fmla="*/ 28 h 34"/>
                <a:gd name="T8" fmla="*/ 110 w 114"/>
                <a:gd name="T9" fmla="*/ 34 h 34"/>
                <a:gd name="T10" fmla="*/ 67 w 114"/>
                <a:gd name="T11" fmla="*/ 33 h 34"/>
                <a:gd name="T12" fmla="*/ 15 w 114"/>
                <a:gd name="T13" fmla="*/ 34 h 34"/>
                <a:gd name="T14" fmla="*/ 5 w 114"/>
                <a:gd name="T15" fmla="*/ 20 h 34"/>
                <a:gd name="T16" fmla="*/ 66 w 114"/>
                <a:gd name="T17" fmla="*/ 2 h 34"/>
                <a:gd name="T18" fmla="*/ 73 w 114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34">
                  <a:moveTo>
                    <a:pt x="73" y="0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107" y="0"/>
                    <a:pt x="108" y="1"/>
                    <a:pt x="108" y="2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4" y="31"/>
                    <a:pt x="112" y="34"/>
                    <a:pt x="110" y="34"/>
                  </a:cubicBezTo>
                  <a:cubicBezTo>
                    <a:pt x="98" y="33"/>
                    <a:pt x="81" y="33"/>
                    <a:pt x="67" y="33"/>
                  </a:cubicBezTo>
                  <a:cubicBezTo>
                    <a:pt x="50" y="33"/>
                    <a:pt x="35" y="34"/>
                    <a:pt x="15" y="34"/>
                  </a:cubicBezTo>
                  <a:cubicBezTo>
                    <a:pt x="3" y="34"/>
                    <a:pt x="0" y="21"/>
                    <a:pt x="5" y="20"/>
                  </a:cubicBezTo>
                  <a:cubicBezTo>
                    <a:pt x="28" y="15"/>
                    <a:pt x="46" y="15"/>
                    <a:pt x="66" y="2"/>
                  </a:cubicBezTo>
                  <a:cubicBezTo>
                    <a:pt x="68" y="1"/>
                    <a:pt x="71" y="0"/>
                    <a:pt x="73" y="0"/>
                  </a:cubicBezTo>
                  <a:close/>
                </a:path>
              </a:pathLst>
            </a:custGeom>
            <a:solidFill>
              <a:srgbClr val="143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ś1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6679492-4367-4273-85C5-9467644CF723}"/>
                </a:ext>
              </a:extLst>
            </p:cNvPr>
            <p:cNvSpPr/>
            <p:nvPr/>
          </p:nvSpPr>
          <p:spPr bwMode="auto">
            <a:xfrm>
              <a:off x="6351588" y="2457450"/>
              <a:ext cx="688975" cy="465138"/>
            </a:xfrm>
            <a:custGeom>
              <a:avLst/>
              <a:gdLst>
                <a:gd name="T0" fmla="*/ 209 w 209"/>
                <a:gd name="T1" fmla="*/ 26 h 141"/>
                <a:gd name="T2" fmla="*/ 173 w 209"/>
                <a:gd name="T3" fmla="*/ 75 h 141"/>
                <a:gd name="T4" fmla="*/ 131 w 209"/>
                <a:gd name="T5" fmla="*/ 121 h 141"/>
                <a:gd name="T6" fmla="*/ 125 w 209"/>
                <a:gd name="T7" fmla="*/ 126 h 141"/>
                <a:gd name="T8" fmla="*/ 124 w 209"/>
                <a:gd name="T9" fmla="*/ 128 h 141"/>
                <a:gd name="T10" fmla="*/ 123 w 209"/>
                <a:gd name="T11" fmla="*/ 129 h 141"/>
                <a:gd name="T12" fmla="*/ 121 w 209"/>
                <a:gd name="T13" fmla="*/ 130 h 141"/>
                <a:gd name="T14" fmla="*/ 115 w 209"/>
                <a:gd name="T15" fmla="*/ 134 h 141"/>
                <a:gd name="T16" fmla="*/ 94 w 209"/>
                <a:gd name="T17" fmla="*/ 140 h 141"/>
                <a:gd name="T18" fmla="*/ 59 w 209"/>
                <a:gd name="T19" fmla="*/ 137 h 141"/>
                <a:gd name="T20" fmla="*/ 0 w 209"/>
                <a:gd name="T21" fmla="*/ 116 h 141"/>
                <a:gd name="T22" fmla="*/ 7 w 209"/>
                <a:gd name="T23" fmla="*/ 95 h 141"/>
                <a:gd name="T24" fmla="*/ 64 w 209"/>
                <a:gd name="T25" fmla="*/ 103 h 141"/>
                <a:gd name="T26" fmla="*/ 89 w 209"/>
                <a:gd name="T27" fmla="*/ 102 h 141"/>
                <a:gd name="T28" fmla="*/ 95 w 209"/>
                <a:gd name="T29" fmla="*/ 100 h 141"/>
                <a:gd name="T30" fmla="*/ 95 w 209"/>
                <a:gd name="T31" fmla="*/ 99 h 141"/>
                <a:gd name="T32" fmla="*/ 95 w 209"/>
                <a:gd name="T33" fmla="*/ 99 h 141"/>
                <a:gd name="T34" fmla="*/ 95 w 209"/>
                <a:gd name="T35" fmla="*/ 99 h 141"/>
                <a:gd name="T36" fmla="*/ 96 w 209"/>
                <a:gd name="T37" fmla="*/ 99 h 141"/>
                <a:gd name="T38" fmla="*/ 97 w 209"/>
                <a:gd name="T39" fmla="*/ 98 h 141"/>
                <a:gd name="T40" fmla="*/ 102 w 209"/>
                <a:gd name="T41" fmla="*/ 92 h 141"/>
                <a:gd name="T42" fmla="*/ 138 w 209"/>
                <a:gd name="T43" fmla="*/ 47 h 141"/>
                <a:gd name="T44" fmla="*/ 173 w 209"/>
                <a:gd name="T45" fmla="*/ 0 h 141"/>
                <a:gd name="T46" fmla="*/ 209 w 209"/>
                <a:gd name="T47" fmla="*/ 2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41">
                  <a:moveTo>
                    <a:pt x="209" y="26"/>
                  </a:moveTo>
                  <a:cubicBezTo>
                    <a:pt x="198" y="43"/>
                    <a:pt x="186" y="59"/>
                    <a:pt x="173" y="75"/>
                  </a:cubicBezTo>
                  <a:cubicBezTo>
                    <a:pt x="160" y="91"/>
                    <a:pt x="146" y="106"/>
                    <a:pt x="131" y="121"/>
                  </a:cubicBezTo>
                  <a:cubicBezTo>
                    <a:pt x="125" y="126"/>
                    <a:pt x="125" y="126"/>
                    <a:pt x="125" y="126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3" y="129"/>
                    <a:pt x="123" y="129"/>
                    <a:pt x="123" y="129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19" y="131"/>
                    <a:pt x="117" y="133"/>
                    <a:pt x="115" y="134"/>
                  </a:cubicBezTo>
                  <a:cubicBezTo>
                    <a:pt x="107" y="138"/>
                    <a:pt x="100" y="139"/>
                    <a:pt x="94" y="140"/>
                  </a:cubicBezTo>
                  <a:cubicBezTo>
                    <a:pt x="81" y="141"/>
                    <a:pt x="70" y="139"/>
                    <a:pt x="59" y="137"/>
                  </a:cubicBezTo>
                  <a:cubicBezTo>
                    <a:pt x="38" y="132"/>
                    <a:pt x="19" y="125"/>
                    <a:pt x="0" y="116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6" y="99"/>
                    <a:pt x="45" y="102"/>
                    <a:pt x="64" y="103"/>
                  </a:cubicBezTo>
                  <a:cubicBezTo>
                    <a:pt x="73" y="104"/>
                    <a:pt x="82" y="104"/>
                    <a:pt x="89" y="102"/>
                  </a:cubicBezTo>
                  <a:cubicBezTo>
                    <a:pt x="92" y="101"/>
                    <a:pt x="95" y="100"/>
                    <a:pt x="95" y="100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114" y="78"/>
                    <a:pt x="126" y="63"/>
                    <a:pt x="138" y="47"/>
                  </a:cubicBezTo>
                  <a:cubicBezTo>
                    <a:pt x="150" y="32"/>
                    <a:pt x="161" y="16"/>
                    <a:pt x="173" y="0"/>
                  </a:cubicBezTo>
                  <a:lnTo>
                    <a:pt x="209" y="26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ṣl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07C828A-1BCF-414C-B99B-E341C3300D28}"/>
                </a:ext>
              </a:extLst>
            </p:cNvPr>
            <p:cNvSpPr/>
            <p:nvPr/>
          </p:nvSpPr>
          <p:spPr bwMode="auto">
            <a:xfrm>
              <a:off x="7410451" y="2322513"/>
              <a:ext cx="355600" cy="415925"/>
            </a:xfrm>
            <a:custGeom>
              <a:avLst/>
              <a:gdLst>
                <a:gd name="T0" fmla="*/ 49 w 108"/>
                <a:gd name="T1" fmla="*/ 7 h 126"/>
                <a:gd name="T2" fmla="*/ 108 w 108"/>
                <a:gd name="T3" fmla="*/ 88 h 126"/>
                <a:gd name="T4" fmla="*/ 53 w 108"/>
                <a:gd name="T5" fmla="*/ 126 h 126"/>
                <a:gd name="T6" fmla="*/ 16 w 108"/>
                <a:gd name="T7" fmla="*/ 64 h 126"/>
                <a:gd name="T8" fmla="*/ 49 w 108"/>
                <a:gd name="T9" fmla="*/ 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26">
                  <a:moveTo>
                    <a:pt x="49" y="7"/>
                  </a:moveTo>
                  <a:cubicBezTo>
                    <a:pt x="77" y="13"/>
                    <a:pt x="108" y="88"/>
                    <a:pt x="108" y="88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53" y="126"/>
                    <a:pt x="32" y="97"/>
                    <a:pt x="16" y="64"/>
                  </a:cubicBezTo>
                  <a:cubicBezTo>
                    <a:pt x="0" y="29"/>
                    <a:pt x="21" y="0"/>
                    <a:pt x="49" y="7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ŝ1í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D8DD1E1-9569-466B-9C94-F7819918BF73}"/>
                </a:ext>
              </a:extLst>
            </p:cNvPr>
            <p:cNvSpPr/>
            <p:nvPr/>
          </p:nvSpPr>
          <p:spPr bwMode="auto">
            <a:xfrm>
              <a:off x="7505701" y="2500313"/>
              <a:ext cx="88900" cy="238125"/>
            </a:xfrm>
            <a:custGeom>
              <a:avLst/>
              <a:gdLst>
                <a:gd name="T0" fmla="*/ 0 w 27"/>
                <a:gd name="T1" fmla="*/ 0 h 72"/>
                <a:gd name="T2" fmla="*/ 27 w 27"/>
                <a:gd name="T3" fmla="*/ 70 h 72"/>
                <a:gd name="T4" fmla="*/ 24 w 27"/>
                <a:gd name="T5" fmla="*/ 72 h 72"/>
                <a:gd name="T6" fmla="*/ 0 w 27"/>
                <a:gd name="T7" fmla="*/ 35 h 72"/>
                <a:gd name="T8" fmla="*/ 0 w 27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72">
                  <a:moveTo>
                    <a:pt x="0" y="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13" y="56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ḻïḓ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8CE6186-5976-42BD-810C-41583A2BE2CC}"/>
                </a:ext>
              </a:extLst>
            </p:cNvPr>
            <p:cNvSpPr/>
            <p:nvPr/>
          </p:nvSpPr>
          <p:spPr bwMode="auto">
            <a:xfrm>
              <a:off x="6926263" y="2316163"/>
              <a:ext cx="646113" cy="869950"/>
            </a:xfrm>
            <a:custGeom>
              <a:avLst/>
              <a:gdLst>
                <a:gd name="T0" fmla="*/ 32 w 196"/>
                <a:gd name="T1" fmla="*/ 10 h 264"/>
                <a:gd name="T2" fmla="*/ 30 w 196"/>
                <a:gd name="T3" fmla="*/ 264 h 264"/>
                <a:gd name="T4" fmla="*/ 187 w 196"/>
                <a:gd name="T5" fmla="*/ 264 h 264"/>
                <a:gd name="T6" fmla="*/ 196 w 196"/>
                <a:gd name="T7" fmla="*/ 9 h 264"/>
                <a:gd name="T8" fmla="*/ 144 w 196"/>
                <a:gd name="T9" fmla="*/ 2 h 264"/>
                <a:gd name="T10" fmla="*/ 77 w 196"/>
                <a:gd name="T11" fmla="*/ 2 h 264"/>
                <a:gd name="T12" fmla="*/ 32 w 196"/>
                <a:gd name="T13" fmla="*/ 1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264">
                  <a:moveTo>
                    <a:pt x="32" y="10"/>
                  </a:moveTo>
                  <a:cubicBezTo>
                    <a:pt x="32" y="10"/>
                    <a:pt x="0" y="45"/>
                    <a:pt x="30" y="264"/>
                  </a:cubicBezTo>
                  <a:cubicBezTo>
                    <a:pt x="77" y="264"/>
                    <a:pt x="164" y="264"/>
                    <a:pt x="187" y="264"/>
                  </a:cubicBezTo>
                  <a:cubicBezTo>
                    <a:pt x="188" y="240"/>
                    <a:pt x="173" y="122"/>
                    <a:pt x="196" y="9"/>
                  </a:cubicBezTo>
                  <a:cubicBezTo>
                    <a:pt x="196" y="9"/>
                    <a:pt x="169" y="3"/>
                    <a:pt x="144" y="2"/>
                  </a:cubicBezTo>
                  <a:cubicBezTo>
                    <a:pt x="123" y="1"/>
                    <a:pt x="94" y="0"/>
                    <a:pt x="77" y="2"/>
                  </a:cubicBezTo>
                  <a:cubicBezTo>
                    <a:pt x="53" y="4"/>
                    <a:pt x="32" y="10"/>
                    <a:pt x="32" y="10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lï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CC992BA-53FA-4D7A-BDF4-40E89484D828}"/>
                </a:ext>
              </a:extLst>
            </p:cNvPr>
            <p:cNvSpPr/>
            <p:nvPr/>
          </p:nvSpPr>
          <p:spPr bwMode="auto">
            <a:xfrm>
              <a:off x="6981826" y="2557463"/>
              <a:ext cx="104775" cy="223838"/>
            </a:xfrm>
            <a:custGeom>
              <a:avLst/>
              <a:gdLst>
                <a:gd name="T0" fmla="*/ 32 w 32"/>
                <a:gd name="T1" fmla="*/ 0 h 68"/>
                <a:gd name="T2" fmla="*/ 1 w 32"/>
                <a:gd name="T3" fmla="*/ 68 h 68"/>
                <a:gd name="T4" fmla="*/ 0 w 32"/>
                <a:gd name="T5" fmla="*/ 30 h 68"/>
                <a:gd name="T6" fmla="*/ 32 w 3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68">
                  <a:moveTo>
                    <a:pt x="32" y="0"/>
                  </a:moveTo>
                  <a:cubicBezTo>
                    <a:pt x="31" y="1"/>
                    <a:pt x="28" y="36"/>
                    <a:pt x="1" y="68"/>
                  </a:cubicBezTo>
                  <a:cubicBezTo>
                    <a:pt x="0" y="54"/>
                    <a:pt x="0" y="41"/>
                    <a:pt x="0" y="3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B8D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šl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4EEDC3A-22F2-4001-B9EB-BA2E1C0AD296}"/>
                </a:ext>
              </a:extLst>
            </p:cNvPr>
            <p:cNvSpPr/>
            <p:nvPr/>
          </p:nvSpPr>
          <p:spPr bwMode="auto">
            <a:xfrm>
              <a:off x="6780213" y="2319338"/>
              <a:ext cx="363538" cy="434975"/>
            </a:xfrm>
            <a:custGeom>
              <a:avLst/>
              <a:gdLst>
                <a:gd name="T0" fmla="*/ 107 w 110"/>
                <a:gd name="T1" fmla="*/ 33 h 132"/>
                <a:gd name="T2" fmla="*/ 56 w 110"/>
                <a:gd name="T3" fmla="*/ 132 h 132"/>
                <a:gd name="T4" fmla="*/ 0 w 110"/>
                <a:gd name="T5" fmla="*/ 94 h 132"/>
                <a:gd name="T6" fmla="*/ 41 w 110"/>
                <a:gd name="T7" fmla="*/ 29 h 132"/>
                <a:gd name="T8" fmla="*/ 107 w 110"/>
                <a:gd name="T9" fmla="*/ 3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32">
                  <a:moveTo>
                    <a:pt x="107" y="33"/>
                  </a:moveTo>
                  <a:cubicBezTo>
                    <a:pt x="110" y="61"/>
                    <a:pt x="56" y="132"/>
                    <a:pt x="56" y="132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6" y="55"/>
                    <a:pt x="41" y="29"/>
                  </a:cubicBezTo>
                  <a:cubicBezTo>
                    <a:pt x="71" y="0"/>
                    <a:pt x="102" y="3"/>
                    <a:pt x="107" y="33"/>
                  </a:cubicBezTo>
                  <a:close/>
                </a:path>
              </a:pathLst>
            </a:custGeom>
            <a:solidFill>
              <a:srgbClr val="DCE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$ļí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16C0EC3-0DB6-49D3-BCD8-4C40B35A9949}"/>
                </a:ext>
              </a:extLst>
            </p:cNvPr>
            <p:cNvSpPr/>
            <p:nvPr/>
          </p:nvSpPr>
          <p:spPr bwMode="auto">
            <a:xfrm>
              <a:off x="6238876" y="2705100"/>
              <a:ext cx="149225" cy="155575"/>
            </a:xfrm>
            <a:custGeom>
              <a:avLst/>
              <a:gdLst>
                <a:gd name="T0" fmla="*/ 45 w 45"/>
                <a:gd name="T1" fmla="*/ 23 h 47"/>
                <a:gd name="T2" fmla="*/ 23 w 45"/>
                <a:gd name="T3" fmla="*/ 0 h 47"/>
                <a:gd name="T4" fmla="*/ 0 w 45"/>
                <a:gd name="T5" fmla="*/ 30 h 47"/>
                <a:gd name="T6" fmla="*/ 39 w 45"/>
                <a:gd name="T7" fmla="*/ 42 h 47"/>
                <a:gd name="T8" fmla="*/ 45 w 45"/>
                <a:gd name="T9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7">
                  <a:moveTo>
                    <a:pt x="45" y="23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8" y="47"/>
                    <a:pt x="39" y="42"/>
                  </a:cubicBezTo>
                  <a:lnTo>
                    <a:pt x="45" y="23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ṡli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AAAC8A1-4D34-4F30-B565-ED6691AF7675}"/>
                </a:ext>
              </a:extLst>
            </p:cNvPr>
            <p:cNvSpPr/>
            <p:nvPr/>
          </p:nvSpPr>
          <p:spPr bwMode="auto">
            <a:xfrm>
              <a:off x="6186488" y="2665413"/>
              <a:ext cx="128588" cy="138113"/>
            </a:xfrm>
            <a:custGeom>
              <a:avLst/>
              <a:gdLst>
                <a:gd name="T0" fmla="*/ 21 w 81"/>
                <a:gd name="T1" fmla="*/ 0 h 87"/>
                <a:gd name="T2" fmla="*/ 0 w 81"/>
                <a:gd name="T3" fmla="*/ 65 h 87"/>
                <a:gd name="T4" fmla="*/ 33 w 81"/>
                <a:gd name="T5" fmla="*/ 87 h 87"/>
                <a:gd name="T6" fmla="*/ 81 w 81"/>
                <a:gd name="T7" fmla="*/ 25 h 87"/>
                <a:gd name="T8" fmla="*/ 21 w 81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7">
                  <a:moveTo>
                    <a:pt x="21" y="0"/>
                  </a:moveTo>
                  <a:lnTo>
                    <a:pt x="0" y="65"/>
                  </a:lnTo>
                  <a:lnTo>
                    <a:pt x="33" y="87"/>
                  </a:lnTo>
                  <a:lnTo>
                    <a:pt x="81" y="2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šlî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4BFC4B6-C0AD-423E-BAD6-AF4581713E5A}"/>
                </a:ext>
              </a:extLst>
            </p:cNvPr>
            <p:cNvSpPr/>
            <p:nvPr/>
          </p:nvSpPr>
          <p:spPr bwMode="auto">
            <a:xfrm>
              <a:off x="7169151" y="5427663"/>
              <a:ext cx="103188" cy="115888"/>
            </a:xfrm>
            <a:custGeom>
              <a:avLst/>
              <a:gdLst>
                <a:gd name="T0" fmla="*/ 0 w 65"/>
                <a:gd name="T1" fmla="*/ 0 h 73"/>
                <a:gd name="T2" fmla="*/ 5 w 65"/>
                <a:gd name="T3" fmla="*/ 73 h 73"/>
                <a:gd name="T4" fmla="*/ 65 w 65"/>
                <a:gd name="T5" fmla="*/ 73 h 73"/>
                <a:gd name="T6" fmla="*/ 63 w 65"/>
                <a:gd name="T7" fmla="*/ 0 h 73"/>
                <a:gd name="T8" fmla="*/ 0 w 65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3">
                  <a:moveTo>
                    <a:pt x="0" y="0"/>
                  </a:moveTo>
                  <a:lnTo>
                    <a:pt x="5" y="73"/>
                  </a:lnTo>
                  <a:lnTo>
                    <a:pt x="65" y="73"/>
                  </a:lnTo>
                  <a:lnTo>
                    <a:pt x="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ṥļ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FF628F1-BB20-4040-A0C8-472F385AAF90}"/>
                </a:ext>
              </a:extLst>
            </p:cNvPr>
            <p:cNvSpPr/>
            <p:nvPr/>
          </p:nvSpPr>
          <p:spPr bwMode="auto">
            <a:xfrm>
              <a:off x="7713663" y="5427663"/>
              <a:ext cx="122238" cy="115888"/>
            </a:xfrm>
            <a:custGeom>
              <a:avLst/>
              <a:gdLst>
                <a:gd name="T0" fmla="*/ 60 w 77"/>
                <a:gd name="T1" fmla="*/ 0 h 73"/>
                <a:gd name="T2" fmla="*/ 0 w 77"/>
                <a:gd name="T3" fmla="*/ 0 h 73"/>
                <a:gd name="T4" fmla="*/ 15 w 77"/>
                <a:gd name="T5" fmla="*/ 73 h 73"/>
                <a:gd name="T6" fmla="*/ 77 w 77"/>
                <a:gd name="T7" fmla="*/ 73 h 73"/>
                <a:gd name="T8" fmla="*/ 60 w 77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3">
                  <a:moveTo>
                    <a:pt x="60" y="0"/>
                  </a:moveTo>
                  <a:lnTo>
                    <a:pt x="0" y="0"/>
                  </a:lnTo>
                  <a:lnTo>
                    <a:pt x="15" y="73"/>
                  </a:lnTo>
                  <a:lnTo>
                    <a:pt x="77" y="73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9E4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sľîḓ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9AE6F14-8F0B-4EA2-B5A1-D89C62BBA581}"/>
                </a:ext>
              </a:extLst>
            </p:cNvPr>
            <p:cNvSpPr/>
            <p:nvPr/>
          </p:nvSpPr>
          <p:spPr bwMode="auto">
            <a:xfrm>
              <a:off x="7097713" y="1798638"/>
              <a:ext cx="293688" cy="446088"/>
            </a:xfrm>
            <a:custGeom>
              <a:avLst/>
              <a:gdLst>
                <a:gd name="T0" fmla="*/ 87 w 89"/>
                <a:gd name="T1" fmla="*/ 51 h 135"/>
                <a:gd name="T2" fmla="*/ 71 w 89"/>
                <a:gd name="T3" fmla="*/ 113 h 135"/>
                <a:gd name="T4" fmla="*/ 6 w 89"/>
                <a:gd name="T5" fmla="*/ 93 h 135"/>
                <a:gd name="T6" fmla="*/ 33 w 89"/>
                <a:gd name="T7" fmla="*/ 12 h 135"/>
                <a:gd name="T8" fmla="*/ 87 w 89"/>
                <a:gd name="T9" fmla="*/ 5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5">
                  <a:moveTo>
                    <a:pt x="87" y="51"/>
                  </a:moveTo>
                  <a:cubicBezTo>
                    <a:pt x="86" y="80"/>
                    <a:pt x="86" y="98"/>
                    <a:pt x="71" y="113"/>
                  </a:cubicBezTo>
                  <a:cubicBezTo>
                    <a:pt x="49" y="135"/>
                    <a:pt x="13" y="122"/>
                    <a:pt x="6" y="93"/>
                  </a:cubicBezTo>
                  <a:cubicBezTo>
                    <a:pt x="0" y="66"/>
                    <a:pt x="4" y="23"/>
                    <a:pt x="33" y="12"/>
                  </a:cubicBezTo>
                  <a:cubicBezTo>
                    <a:pt x="61" y="0"/>
                    <a:pt x="89" y="22"/>
                    <a:pt x="87" y="51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ľi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59FDA5E-BF71-4C40-8370-B2DB1ACF522E}"/>
                </a:ext>
              </a:extLst>
            </p:cNvPr>
            <p:cNvSpPr/>
            <p:nvPr/>
          </p:nvSpPr>
          <p:spPr bwMode="auto">
            <a:xfrm>
              <a:off x="6978651" y="1684338"/>
              <a:ext cx="514350" cy="469900"/>
            </a:xfrm>
            <a:custGeom>
              <a:avLst/>
              <a:gdLst>
                <a:gd name="T0" fmla="*/ 67 w 156"/>
                <a:gd name="T1" fmla="*/ 67 h 143"/>
                <a:gd name="T2" fmla="*/ 111 w 156"/>
                <a:gd name="T3" fmla="*/ 140 h 143"/>
                <a:gd name="T4" fmla="*/ 152 w 156"/>
                <a:gd name="T5" fmla="*/ 81 h 143"/>
                <a:gd name="T6" fmla="*/ 142 w 156"/>
                <a:gd name="T7" fmla="*/ 47 h 143"/>
                <a:gd name="T8" fmla="*/ 135 w 156"/>
                <a:gd name="T9" fmla="*/ 23 h 143"/>
                <a:gd name="T10" fmla="*/ 88 w 156"/>
                <a:gd name="T11" fmla="*/ 0 h 143"/>
                <a:gd name="T12" fmla="*/ 62 w 156"/>
                <a:gd name="T13" fmla="*/ 26 h 143"/>
                <a:gd name="T14" fmla="*/ 39 w 156"/>
                <a:gd name="T15" fmla="*/ 6 h 143"/>
                <a:gd name="T16" fmla="*/ 67 w 156"/>
                <a:gd name="T17" fmla="*/ 6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43">
                  <a:moveTo>
                    <a:pt x="67" y="67"/>
                  </a:moveTo>
                  <a:cubicBezTo>
                    <a:pt x="67" y="101"/>
                    <a:pt x="78" y="143"/>
                    <a:pt x="111" y="140"/>
                  </a:cubicBezTo>
                  <a:cubicBezTo>
                    <a:pt x="133" y="138"/>
                    <a:pt x="150" y="98"/>
                    <a:pt x="152" y="81"/>
                  </a:cubicBezTo>
                  <a:cubicBezTo>
                    <a:pt x="156" y="55"/>
                    <a:pt x="156" y="50"/>
                    <a:pt x="142" y="47"/>
                  </a:cubicBezTo>
                  <a:cubicBezTo>
                    <a:pt x="148" y="44"/>
                    <a:pt x="150" y="27"/>
                    <a:pt x="135" y="23"/>
                  </a:cubicBezTo>
                  <a:cubicBezTo>
                    <a:pt x="115" y="18"/>
                    <a:pt x="76" y="13"/>
                    <a:pt x="88" y="0"/>
                  </a:cubicBezTo>
                  <a:cubicBezTo>
                    <a:pt x="63" y="4"/>
                    <a:pt x="57" y="14"/>
                    <a:pt x="62" y="26"/>
                  </a:cubicBezTo>
                  <a:cubicBezTo>
                    <a:pt x="47" y="25"/>
                    <a:pt x="38" y="17"/>
                    <a:pt x="39" y="6"/>
                  </a:cubicBezTo>
                  <a:cubicBezTo>
                    <a:pt x="15" y="16"/>
                    <a:pt x="0" y="70"/>
                    <a:pt x="67" y="67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ḷid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9CE7BBC0-47C3-4781-BC80-FE921556E585}"/>
                </a:ext>
              </a:extLst>
            </p:cNvPr>
            <p:cNvSpPr/>
            <p:nvPr/>
          </p:nvSpPr>
          <p:spPr bwMode="auto">
            <a:xfrm>
              <a:off x="7177088" y="1944688"/>
              <a:ext cx="85725" cy="131763"/>
            </a:xfrm>
            <a:custGeom>
              <a:avLst/>
              <a:gdLst>
                <a:gd name="T0" fmla="*/ 24 w 26"/>
                <a:gd name="T1" fmla="*/ 16 h 40"/>
                <a:gd name="T2" fmla="*/ 13 w 26"/>
                <a:gd name="T3" fmla="*/ 34 h 40"/>
                <a:gd name="T4" fmla="*/ 0 w 26"/>
                <a:gd name="T5" fmla="*/ 26 h 40"/>
                <a:gd name="T6" fmla="*/ 12 w 26"/>
                <a:gd name="T7" fmla="*/ 3 h 40"/>
                <a:gd name="T8" fmla="*/ 24 w 26"/>
                <a:gd name="T9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0">
                  <a:moveTo>
                    <a:pt x="24" y="16"/>
                  </a:moveTo>
                  <a:cubicBezTo>
                    <a:pt x="23" y="23"/>
                    <a:pt x="18" y="30"/>
                    <a:pt x="13" y="34"/>
                  </a:cubicBezTo>
                  <a:cubicBezTo>
                    <a:pt x="6" y="40"/>
                    <a:pt x="0" y="34"/>
                    <a:pt x="0" y="26"/>
                  </a:cubicBezTo>
                  <a:cubicBezTo>
                    <a:pt x="0" y="18"/>
                    <a:pt x="4" y="5"/>
                    <a:pt x="12" y="3"/>
                  </a:cubicBezTo>
                  <a:cubicBezTo>
                    <a:pt x="21" y="0"/>
                    <a:pt x="26" y="7"/>
                    <a:pt x="24" y="16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ṧl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86B08073-72D3-47EA-9A54-2F027AA1CED2}"/>
                </a:ext>
              </a:extLst>
            </p:cNvPr>
            <p:cNvSpPr/>
            <p:nvPr/>
          </p:nvSpPr>
          <p:spPr bwMode="auto">
            <a:xfrm>
              <a:off x="7434263" y="1779588"/>
              <a:ext cx="85725" cy="79375"/>
            </a:xfrm>
            <a:custGeom>
              <a:avLst/>
              <a:gdLst>
                <a:gd name="T0" fmla="*/ 26 w 26"/>
                <a:gd name="T1" fmla="*/ 24 h 24"/>
                <a:gd name="T2" fmla="*/ 0 w 26"/>
                <a:gd name="T3" fmla="*/ 22 h 24"/>
                <a:gd name="T4" fmla="*/ 26 w 26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4">
                  <a:moveTo>
                    <a:pt x="26" y="24"/>
                  </a:moveTo>
                  <a:cubicBezTo>
                    <a:pt x="22" y="22"/>
                    <a:pt x="13" y="17"/>
                    <a:pt x="0" y="22"/>
                  </a:cubicBezTo>
                  <a:cubicBezTo>
                    <a:pt x="0" y="22"/>
                    <a:pt x="16" y="0"/>
                    <a:pt x="26" y="24"/>
                  </a:cubicBezTo>
                  <a:close/>
                </a:path>
              </a:pathLst>
            </a:custGeom>
            <a:solidFill>
              <a:srgbClr val="0F2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ṥļîḑ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5CC7EC10-183B-4257-9C8A-466CC0845B12}"/>
                </a:ext>
              </a:extLst>
            </p:cNvPr>
            <p:cNvSpPr/>
            <p:nvPr/>
          </p:nvSpPr>
          <p:spPr bwMode="auto">
            <a:xfrm>
              <a:off x="7208838" y="3186113"/>
              <a:ext cx="663575" cy="2333625"/>
            </a:xfrm>
            <a:custGeom>
              <a:avLst/>
              <a:gdLst>
                <a:gd name="T0" fmla="*/ 0 w 201"/>
                <a:gd name="T1" fmla="*/ 0 h 708"/>
                <a:gd name="T2" fmla="*/ 51 w 201"/>
                <a:gd name="T3" fmla="*/ 309 h 708"/>
                <a:gd name="T4" fmla="*/ 147 w 201"/>
                <a:gd name="T5" fmla="*/ 708 h 708"/>
                <a:gd name="T6" fmla="*/ 201 w 201"/>
                <a:gd name="T7" fmla="*/ 708 h 708"/>
                <a:gd name="T8" fmla="*/ 139 w 201"/>
                <a:gd name="T9" fmla="*/ 317 h 708"/>
                <a:gd name="T10" fmla="*/ 101 w 201"/>
                <a:gd name="T11" fmla="*/ 0 h 708"/>
                <a:gd name="T12" fmla="*/ 0 w 201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708">
                  <a:moveTo>
                    <a:pt x="0" y="0"/>
                  </a:moveTo>
                  <a:cubicBezTo>
                    <a:pt x="0" y="0"/>
                    <a:pt x="33" y="225"/>
                    <a:pt x="51" y="309"/>
                  </a:cubicBezTo>
                  <a:cubicBezTo>
                    <a:pt x="71" y="401"/>
                    <a:pt x="147" y="708"/>
                    <a:pt x="147" y="708"/>
                  </a:cubicBezTo>
                  <a:cubicBezTo>
                    <a:pt x="201" y="708"/>
                    <a:pt x="201" y="708"/>
                    <a:pt x="201" y="708"/>
                  </a:cubicBezTo>
                  <a:cubicBezTo>
                    <a:pt x="201" y="708"/>
                    <a:pt x="151" y="408"/>
                    <a:pt x="139" y="317"/>
                  </a:cubicBezTo>
                  <a:cubicBezTo>
                    <a:pt x="127" y="218"/>
                    <a:pt x="101" y="0"/>
                    <a:pt x="10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ḷíd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A089260-81A1-4769-84FD-FA2F03EE3168}"/>
                </a:ext>
              </a:extLst>
            </p:cNvPr>
            <p:cNvSpPr/>
            <p:nvPr/>
          </p:nvSpPr>
          <p:spPr bwMode="auto">
            <a:xfrm>
              <a:off x="7664451" y="5454650"/>
              <a:ext cx="217488" cy="68263"/>
            </a:xfrm>
            <a:custGeom>
              <a:avLst/>
              <a:gdLst>
                <a:gd name="T0" fmla="*/ 0 w 137"/>
                <a:gd name="T1" fmla="*/ 0 h 43"/>
                <a:gd name="T2" fmla="*/ 13 w 137"/>
                <a:gd name="T3" fmla="*/ 43 h 43"/>
                <a:gd name="T4" fmla="*/ 137 w 137"/>
                <a:gd name="T5" fmla="*/ 43 h 43"/>
                <a:gd name="T6" fmla="*/ 135 w 137"/>
                <a:gd name="T7" fmla="*/ 4 h 43"/>
                <a:gd name="T8" fmla="*/ 0 w 137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43">
                  <a:moveTo>
                    <a:pt x="0" y="0"/>
                  </a:moveTo>
                  <a:lnTo>
                    <a:pt x="13" y="43"/>
                  </a:lnTo>
                  <a:lnTo>
                    <a:pt x="137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Sļï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C9648A2D-6016-493D-A5FD-DEE5C1246968}"/>
                </a:ext>
              </a:extLst>
            </p:cNvPr>
            <p:cNvSpPr/>
            <p:nvPr/>
          </p:nvSpPr>
          <p:spPr bwMode="auto">
            <a:xfrm>
              <a:off x="7248526" y="3446463"/>
              <a:ext cx="155575" cy="746125"/>
            </a:xfrm>
            <a:custGeom>
              <a:avLst/>
              <a:gdLst>
                <a:gd name="T0" fmla="*/ 9 w 47"/>
                <a:gd name="T1" fmla="*/ 1 h 226"/>
                <a:gd name="T2" fmla="*/ 38 w 47"/>
                <a:gd name="T3" fmla="*/ 226 h 226"/>
                <a:gd name="T4" fmla="*/ 0 w 47"/>
                <a:gd name="T5" fmla="*/ 2 h 226"/>
                <a:gd name="T6" fmla="*/ 9 w 47"/>
                <a:gd name="T7" fmla="*/ 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226">
                  <a:moveTo>
                    <a:pt x="9" y="1"/>
                  </a:moveTo>
                  <a:cubicBezTo>
                    <a:pt x="47" y="9"/>
                    <a:pt x="43" y="152"/>
                    <a:pt x="38" y="226"/>
                  </a:cubicBezTo>
                  <a:cubicBezTo>
                    <a:pt x="27" y="174"/>
                    <a:pt x="11" y="74"/>
                    <a:pt x="0" y="2"/>
                  </a:cubicBezTo>
                  <a:cubicBezTo>
                    <a:pt x="2" y="1"/>
                    <a:pt x="5" y="0"/>
                    <a:pt x="9" y="1"/>
                  </a:cubicBezTo>
                  <a:close/>
                </a:path>
              </a:pathLst>
            </a:custGeom>
            <a:solidFill>
              <a:srgbClr val="133A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ṥḷí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16801CA4-8C3D-401B-B0A1-86FEB2935FE2}"/>
                </a:ext>
              </a:extLst>
            </p:cNvPr>
            <p:cNvSpPr/>
            <p:nvPr/>
          </p:nvSpPr>
          <p:spPr bwMode="auto">
            <a:xfrm>
              <a:off x="7011988" y="3186113"/>
              <a:ext cx="352425" cy="2333625"/>
            </a:xfrm>
            <a:custGeom>
              <a:avLst/>
              <a:gdLst>
                <a:gd name="T0" fmla="*/ 4 w 107"/>
                <a:gd name="T1" fmla="*/ 0 h 708"/>
                <a:gd name="T2" fmla="*/ 3 w 107"/>
                <a:gd name="T3" fmla="*/ 309 h 708"/>
                <a:gd name="T4" fmla="*/ 39 w 107"/>
                <a:gd name="T5" fmla="*/ 708 h 708"/>
                <a:gd name="T6" fmla="*/ 89 w 107"/>
                <a:gd name="T7" fmla="*/ 708 h 708"/>
                <a:gd name="T8" fmla="*/ 93 w 107"/>
                <a:gd name="T9" fmla="*/ 317 h 708"/>
                <a:gd name="T10" fmla="*/ 107 w 107"/>
                <a:gd name="T11" fmla="*/ 0 h 708"/>
                <a:gd name="T12" fmla="*/ 4 w 107"/>
                <a:gd name="T13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708">
                  <a:moveTo>
                    <a:pt x="4" y="0"/>
                  </a:moveTo>
                  <a:cubicBezTo>
                    <a:pt x="4" y="0"/>
                    <a:pt x="0" y="220"/>
                    <a:pt x="3" y="309"/>
                  </a:cubicBezTo>
                  <a:cubicBezTo>
                    <a:pt x="6" y="403"/>
                    <a:pt x="39" y="708"/>
                    <a:pt x="39" y="708"/>
                  </a:cubicBezTo>
                  <a:cubicBezTo>
                    <a:pt x="89" y="708"/>
                    <a:pt x="89" y="708"/>
                    <a:pt x="89" y="708"/>
                  </a:cubicBezTo>
                  <a:cubicBezTo>
                    <a:pt x="89" y="708"/>
                    <a:pt x="90" y="408"/>
                    <a:pt x="93" y="317"/>
                  </a:cubicBezTo>
                  <a:cubicBezTo>
                    <a:pt x="95" y="217"/>
                    <a:pt x="107" y="0"/>
                    <a:pt x="107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94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śľi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609D0FD-0170-4C8D-A0A3-31DCD66786E4}"/>
                </a:ext>
              </a:extLst>
            </p:cNvPr>
            <p:cNvSpPr/>
            <p:nvPr/>
          </p:nvSpPr>
          <p:spPr bwMode="auto">
            <a:xfrm>
              <a:off x="7058026" y="3243263"/>
              <a:ext cx="119063" cy="2159000"/>
            </a:xfrm>
            <a:custGeom>
              <a:avLst/>
              <a:gdLst>
                <a:gd name="T0" fmla="*/ 35 w 36"/>
                <a:gd name="T1" fmla="*/ 655 h 655"/>
                <a:gd name="T2" fmla="*/ 35 w 36"/>
                <a:gd name="T3" fmla="*/ 655 h 655"/>
                <a:gd name="T4" fmla="*/ 3 w 36"/>
                <a:gd name="T5" fmla="*/ 292 h 655"/>
                <a:gd name="T6" fmla="*/ 3 w 36"/>
                <a:gd name="T7" fmla="*/ 0 h 655"/>
                <a:gd name="T8" fmla="*/ 4 w 36"/>
                <a:gd name="T9" fmla="*/ 0 h 655"/>
                <a:gd name="T10" fmla="*/ 4 w 36"/>
                <a:gd name="T11" fmla="*/ 0 h 655"/>
                <a:gd name="T12" fmla="*/ 4 w 36"/>
                <a:gd name="T13" fmla="*/ 292 h 655"/>
                <a:gd name="T14" fmla="*/ 36 w 36"/>
                <a:gd name="T15" fmla="*/ 655 h 655"/>
                <a:gd name="T16" fmla="*/ 35 w 36"/>
                <a:gd name="T17" fmla="*/ 65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55">
                  <a:moveTo>
                    <a:pt x="35" y="655"/>
                  </a:moveTo>
                  <a:cubicBezTo>
                    <a:pt x="35" y="655"/>
                    <a:pt x="35" y="655"/>
                    <a:pt x="35" y="655"/>
                  </a:cubicBezTo>
                  <a:cubicBezTo>
                    <a:pt x="26" y="570"/>
                    <a:pt x="5" y="366"/>
                    <a:pt x="3" y="292"/>
                  </a:cubicBezTo>
                  <a:cubicBezTo>
                    <a:pt x="0" y="218"/>
                    <a:pt x="2" y="5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50"/>
                    <a:pt x="1" y="218"/>
                    <a:pt x="4" y="292"/>
                  </a:cubicBezTo>
                  <a:cubicBezTo>
                    <a:pt x="6" y="366"/>
                    <a:pt x="27" y="570"/>
                    <a:pt x="36" y="655"/>
                  </a:cubicBezTo>
                  <a:cubicBezTo>
                    <a:pt x="35" y="655"/>
                    <a:pt x="35" y="655"/>
                    <a:pt x="35" y="655"/>
                  </a:cubicBez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ṩḷi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F8C30BD-E906-4EFE-9E48-6C3F3F9DB3C4}"/>
                </a:ext>
              </a:extLst>
            </p:cNvPr>
            <p:cNvSpPr/>
            <p:nvPr/>
          </p:nvSpPr>
          <p:spPr bwMode="auto">
            <a:xfrm>
              <a:off x="7107238" y="5454650"/>
              <a:ext cx="214313" cy="68263"/>
            </a:xfrm>
            <a:custGeom>
              <a:avLst/>
              <a:gdLst>
                <a:gd name="T0" fmla="*/ 0 w 135"/>
                <a:gd name="T1" fmla="*/ 0 h 43"/>
                <a:gd name="T2" fmla="*/ 6 w 135"/>
                <a:gd name="T3" fmla="*/ 43 h 43"/>
                <a:gd name="T4" fmla="*/ 133 w 135"/>
                <a:gd name="T5" fmla="*/ 43 h 43"/>
                <a:gd name="T6" fmla="*/ 135 w 135"/>
                <a:gd name="T7" fmla="*/ 4 h 43"/>
                <a:gd name="T8" fmla="*/ 0 w 13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43">
                  <a:moveTo>
                    <a:pt x="0" y="0"/>
                  </a:moveTo>
                  <a:lnTo>
                    <a:pt x="6" y="43"/>
                  </a:lnTo>
                  <a:lnTo>
                    <a:pt x="133" y="43"/>
                  </a:lnTo>
                  <a:lnTo>
                    <a:pt x="135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6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sľîḑ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0508EB2-5244-4A23-AE93-35350B64CBB6}"/>
                </a:ext>
              </a:extLst>
            </p:cNvPr>
            <p:cNvSpPr/>
            <p:nvPr/>
          </p:nvSpPr>
          <p:spPr bwMode="auto">
            <a:xfrm>
              <a:off x="4794251" y="1366838"/>
              <a:ext cx="758825" cy="758825"/>
            </a:xfrm>
            <a:custGeom>
              <a:avLst/>
              <a:gdLst>
                <a:gd name="T0" fmla="*/ 146 w 230"/>
                <a:gd name="T1" fmla="*/ 213 h 230"/>
                <a:gd name="T2" fmla="*/ 213 w 230"/>
                <a:gd name="T3" fmla="*/ 84 h 230"/>
                <a:gd name="T4" fmla="*/ 84 w 230"/>
                <a:gd name="T5" fmla="*/ 17 h 230"/>
                <a:gd name="T6" fmla="*/ 17 w 230"/>
                <a:gd name="T7" fmla="*/ 146 h 230"/>
                <a:gd name="T8" fmla="*/ 146 w 230"/>
                <a:gd name="T9" fmla="*/ 21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146" y="213"/>
                  </a:moveTo>
                  <a:cubicBezTo>
                    <a:pt x="200" y="196"/>
                    <a:pt x="230" y="138"/>
                    <a:pt x="213" y="84"/>
                  </a:cubicBezTo>
                  <a:cubicBezTo>
                    <a:pt x="196" y="30"/>
                    <a:pt x="138" y="0"/>
                    <a:pt x="84" y="17"/>
                  </a:cubicBezTo>
                  <a:cubicBezTo>
                    <a:pt x="30" y="34"/>
                    <a:pt x="0" y="91"/>
                    <a:pt x="17" y="146"/>
                  </a:cubicBezTo>
                  <a:cubicBezTo>
                    <a:pt x="34" y="200"/>
                    <a:pt x="92" y="230"/>
                    <a:pt x="146" y="213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ṩliď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68542EB-7694-4247-A481-6EB2E42484F2}"/>
                </a:ext>
              </a:extLst>
            </p:cNvPr>
            <p:cNvSpPr/>
            <p:nvPr/>
          </p:nvSpPr>
          <p:spPr bwMode="auto">
            <a:xfrm>
              <a:off x="4794251" y="2343150"/>
              <a:ext cx="498475" cy="674688"/>
            </a:xfrm>
            <a:custGeom>
              <a:avLst/>
              <a:gdLst>
                <a:gd name="T0" fmla="*/ 115 w 151"/>
                <a:gd name="T1" fmla="*/ 0 h 205"/>
                <a:gd name="T2" fmla="*/ 84 w 151"/>
                <a:gd name="T3" fmla="*/ 4 h 205"/>
                <a:gd name="T4" fmla="*/ 17 w 151"/>
                <a:gd name="T5" fmla="*/ 133 h 205"/>
                <a:gd name="T6" fmla="*/ 115 w 151"/>
                <a:gd name="T7" fmla="*/ 205 h 205"/>
                <a:gd name="T8" fmla="*/ 146 w 151"/>
                <a:gd name="T9" fmla="*/ 200 h 205"/>
                <a:gd name="T10" fmla="*/ 151 w 151"/>
                <a:gd name="T11" fmla="*/ 198 h 205"/>
                <a:gd name="T12" fmla="*/ 151 w 151"/>
                <a:gd name="T13" fmla="*/ 6 h 205"/>
                <a:gd name="T14" fmla="*/ 115 w 151"/>
                <a:gd name="T1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05"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1" y="177"/>
                    <a:pt x="71" y="205"/>
                    <a:pt x="115" y="205"/>
                  </a:cubicBezTo>
                  <a:cubicBezTo>
                    <a:pt x="125" y="205"/>
                    <a:pt x="135" y="204"/>
                    <a:pt x="146" y="200"/>
                  </a:cubicBezTo>
                  <a:cubicBezTo>
                    <a:pt x="147" y="200"/>
                    <a:pt x="149" y="199"/>
                    <a:pt x="151" y="198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40" y="2"/>
                    <a:pt x="127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ṡļîḓ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97678B0-8BDF-4957-8F5E-428B8801946E}"/>
                </a:ext>
              </a:extLst>
            </p:cNvPr>
            <p:cNvSpPr/>
            <p:nvPr/>
          </p:nvSpPr>
          <p:spPr bwMode="auto">
            <a:xfrm>
              <a:off x="5292726" y="2362200"/>
              <a:ext cx="39688" cy="633413"/>
            </a:xfrm>
            <a:custGeom>
              <a:avLst/>
              <a:gdLst>
                <a:gd name="T0" fmla="*/ 0 w 12"/>
                <a:gd name="T1" fmla="*/ 0 h 192"/>
                <a:gd name="T2" fmla="*/ 0 w 12"/>
                <a:gd name="T3" fmla="*/ 192 h 192"/>
                <a:gd name="T4" fmla="*/ 12 w 12"/>
                <a:gd name="T5" fmla="*/ 187 h 192"/>
                <a:gd name="T6" fmla="*/ 12 w 12"/>
                <a:gd name="T7" fmla="*/ 6 h 192"/>
                <a:gd name="T8" fmla="*/ 0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4" y="191"/>
                    <a:pt x="8" y="189"/>
                    <a:pt x="12" y="18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Sḷïď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D8E0108-F735-41CE-9B0D-F1703BC6FA48}"/>
                </a:ext>
              </a:extLst>
            </p:cNvPr>
            <p:cNvSpPr/>
            <p:nvPr/>
          </p:nvSpPr>
          <p:spPr bwMode="auto">
            <a:xfrm>
              <a:off x="5332413" y="2382838"/>
              <a:ext cx="73025" cy="596900"/>
            </a:xfrm>
            <a:custGeom>
              <a:avLst/>
              <a:gdLst>
                <a:gd name="T0" fmla="*/ 0 w 22"/>
                <a:gd name="T1" fmla="*/ 0 h 181"/>
                <a:gd name="T2" fmla="*/ 0 w 22"/>
                <a:gd name="T3" fmla="*/ 181 h 181"/>
                <a:gd name="T4" fmla="*/ 22 w 22"/>
                <a:gd name="T5" fmla="*/ 166 h 181"/>
                <a:gd name="T6" fmla="*/ 22 w 22"/>
                <a:gd name="T7" fmla="*/ 76 h 181"/>
                <a:gd name="T8" fmla="*/ 9 w 22"/>
                <a:gd name="T9" fmla="*/ 76 h 181"/>
                <a:gd name="T10" fmla="*/ 9 w 22"/>
                <a:gd name="T11" fmla="*/ 43 h 181"/>
                <a:gd name="T12" fmla="*/ 22 w 22"/>
                <a:gd name="T13" fmla="*/ 43 h 181"/>
                <a:gd name="T14" fmla="*/ 22 w 22"/>
                <a:gd name="T15" fmla="*/ 15 h 181"/>
                <a:gd name="T16" fmla="*/ 0 w 22"/>
                <a:gd name="T1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81">
                  <a:moveTo>
                    <a:pt x="0" y="0"/>
                  </a:moveTo>
                  <a:cubicBezTo>
                    <a:pt x="0" y="181"/>
                    <a:pt x="0" y="181"/>
                    <a:pt x="0" y="181"/>
                  </a:cubicBezTo>
                  <a:cubicBezTo>
                    <a:pt x="8" y="177"/>
                    <a:pt x="15" y="172"/>
                    <a:pt x="22" y="16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15" y="9"/>
                    <a:pt x="8" y="4"/>
                    <a:pt x="0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ṩļiḍ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EDAD51D-7D0F-43BF-AC40-26394A0ECDAA}"/>
                </a:ext>
              </a:extLst>
            </p:cNvPr>
            <p:cNvSpPr/>
            <p:nvPr/>
          </p:nvSpPr>
          <p:spPr bwMode="auto">
            <a:xfrm>
              <a:off x="5405438" y="2432050"/>
              <a:ext cx="117475" cy="496888"/>
            </a:xfrm>
            <a:custGeom>
              <a:avLst/>
              <a:gdLst>
                <a:gd name="T0" fmla="*/ 32 w 36"/>
                <a:gd name="T1" fmla="*/ 61 h 151"/>
                <a:gd name="T2" fmla="*/ 0 w 36"/>
                <a:gd name="T3" fmla="*/ 61 h 151"/>
                <a:gd name="T4" fmla="*/ 0 w 36"/>
                <a:gd name="T5" fmla="*/ 151 h 151"/>
                <a:gd name="T6" fmla="*/ 32 w 36"/>
                <a:gd name="T7" fmla="*/ 61 h 151"/>
                <a:gd name="T8" fmla="*/ 0 w 36"/>
                <a:gd name="T9" fmla="*/ 0 h 151"/>
                <a:gd name="T10" fmla="*/ 0 w 36"/>
                <a:gd name="T11" fmla="*/ 28 h 151"/>
                <a:gd name="T12" fmla="*/ 21 w 36"/>
                <a:gd name="T13" fmla="*/ 28 h 151"/>
                <a:gd name="T14" fmla="*/ 0 w 36"/>
                <a:gd name="T1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51">
                  <a:moveTo>
                    <a:pt x="32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24" y="128"/>
                    <a:pt x="36" y="95"/>
                    <a:pt x="32" y="61"/>
                  </a:cubicBezTo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16" y="17"/>
                    <a:pt x="8" y="8"/>
                    <a:pt x="0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$ḷíḍ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F471C4D-C7CE-49CC-B0D0-EAEB09FA098B}"/>
                </a:ext>
              </a:extLst>
            </p:cNvPr>
            <p:cNvSpPr/>
            <p:nvPr/>
          </p:nvSpPr>
          <p:spPr bwMode="auto">
            <a:xfrm>
              <a:off x="5362576" y="2524125"/>
              <a:ext cx="147638" cy="109538"/>
            </a:xfrm>
            <a:custGeom>
              <a:avLst/>
              <a:gdLst>
                <a:gd name="T0" fmla="*/ 34 w 45"/>
                <a:gd name="T1" fmla="*/ 0 h 33"/>
                <a:gd name="T2" fmla="*/ 13 w 45"/>
                <a:gd name="T3" fmla="*/ 0 h 33"/>
                <a:gd name="T4" fmla="*/ 0 w 45"/>
                <a:gd name="T5" fmla="*/ 0 h 33"/>
                <a:gd name="T6" fmla="*/ 0 w 45"/>
                <a:gd name="T7" fmla="*/ 33 h 33"/>
                <a:gd name="T8" fmla="*/ 13 w 45"/>
                <a:gd name="T9" fmla="*/ 33 h 33"/>
                <a:gd name="T10" fmla="*/ 45 w 45"/>
                <a:gd name="T11" fmla="*/ 33 h 33"/>
                <a:gd name="T12" fmla="*/ 41 w 45"/>
                <a:gd name="T13" fmla="*/ 17 h 33"/>
                <a:gd name="T14" fmla="*/ 34 w 45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3">
                  <a:moveTo>
                    <a:pt x="3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27"/>
                    <a:pt x="43" y="22"/>
                    <a:pt x="41" y="17"/>
                  </a:cubicBezTo>
                  <a:cubicBezTo>
                    <a:pt x="39" y="11"/>
                    <a:pt x="37" y="5"/>
                    <a:pt x="34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ṥḻi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E337655-F791-41A4-8979-5875F7C88968}"/>
                </a:ext>
              </a:extLst>
            </p:cNvPr>
            <p:cNvSpPr/>
            <p:nvPr/>
          </p:nvSpPr>
          <p:spPr bwMode="auto">
            <a:xfrm>
              <a:off x="4794251" y="3275013"/>
              <a:ext cx="758825" cy="679450"/>
            </a:xfrm>
            <a:custGeom>
              <a:avLst/>
              <a:gdLst>
                <a:gd name="T0" fmla="*/ 115 w 230"/>
                <a:gd name="T1" fmla="*/ 0 h 206"/>
                <a:gd name="T2" fmla="*/ 84 w 230"/>
                <a:gd name="T3" fmla="*/ 5 h 206"/>
                <a:gd name="T4" fmla="*/ 17 w 230"/>
                <a:gd name="T5" fmla="*/ 134 h 206"/>
                <a:gd name="T6" fmla="*/ 115 w 230"/>
                <a:gd name="T7" fmla="*/ 206 h 206"/>
                <a:gd name="T8" fmla="*/ 146 w 230"/>
                <a:gd name="T9" fmla="*/ 201 h 206"/>
                <a:gd name="T10" fmla="*/ 213 w 230"/>
                <a:gd name="T11" fmla="*/ 72 h 206"/>
                <a:gd name="T12" fmla="*/ 115 w 230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206">
                  <a:moveTo>
                    <a:pt x="115" y="0"/>
                  </a:moveTo>
                  <a:cubicBezTo>
                    <a:pt x="105" y="0"/>
                    <a:pt x="95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1" y="177"/>
                    <a:pt x="71" y="206"/>
                    <a:pt x="115" y="206"/>
                  </a:cubicBezTo>
                  <a:cubicBezTo>
                    <a:pt x="125" y="206"/>
                    <a:pt x="135" y="204"/>
                    <a:pt x="146" y="201"/>
                  </a:cubicBezTo>
                  <a:cubicBezTo>
                    <a:pt x="200" y="184"/>
                    <a:pt x="230" y="126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ŝľíḋ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14749F3-EA8C-4ABB-8DF5-2E03DD721054}"/>
                </a:ext>
              </a:extLst>
            </p:cNvPr>
            <p:cNvSpPr/>
            <p:nvPr/>
          </p:nvSpPr>
          <p:spPr bwMode="auto">
            <a:xfrm>
              <a:off x="4794251" y="4211638"/>
              <a:ext cx="728663" cy="676275"/>
            </a:xfrm>
            <a:custGeom>
              <a:avLst/>
              <a:gdLst>
                <a:gd name="T0" fmla="*/ 206 w 221"/>
                <a:gd name="T1" fmla="*/ 149 h 205"/>
                <a:gd name="T2" fmla="*/ 24 w 221"/>
                <a:gd name="T3" fmla="*/ 149 h 205"/>
                <a:gd name="T4" fmla="*/ 115 w 221"/>
                <a:gd name="T5" fmla="*/ 205 h 205"/>
                <a:gd name="T6" fmla="*/ 146 w 221"/>
                <a:gd name="T7" fmla="*/ 200 h 205"/>
                <a:gd name="T8" fmla="*/ 206 w 221"/>
                <a:gd name="T9" fmla="*/ 149 h 205"/>
                <a:gd name="T10" fmla="*/ 115 w 221"/>
                <a:gd name="T11" fmla="*/ 0 h 205"/>
                <a:gd name="T12" fmla="*/ 84 w 221"/>
                <a:gd name="T13" fmla="*/ 4 h 205"/>
                <a:gd name="T14" fmla="*/ 17 w 221"/>
                <a:gd name="T15" fmla="*/ 133 h 205"/>
                <a:gd name="T16" fmla="*/ 23 w 221"/>
                <a:gd name="T17" fmla="*/ 148 h 205"/>
                <a:gd name="T18" fmla="*/ 207 w 221"/>
                <a:gd name="T19" fmla="*/ 148 h 205"/>
                <a:gd name="T20" fmla="*/ 213 w 221"/>
                <a:gd name="T21" fmla="*/ 72 h 205"/>
                <a:gd name="T22" fmla="*/ 115 w 221"/>
                <a:gd name="T2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1" h="205">
                  <a:moveTo>
                    <a:pt x="206" y="149"/>
                  </a:moveTo>
                  <a:cubicBezTo>
                    <a:pt x="24" y="149"/>
                    <a:pt x="24" y="149"/>
                    <a:pt x="24" y="149"/>
                  </a:cubicBezTo>
                  <a:cubicBezTo>
                    <a:pt x="41" y="184"/>
                    <a:pt x="77" y="205"/>
                    <a:pt x="115" y="205"/>
                  </a:cubicBezTo>
                  <a:cubicBezTo>
                    <a:pt x="125" y="205"/>
                    <a:pt x="135" y="203"/>
                    <a:pt x="146" y="200"/>
                  </a:cubicBezTo>
                  <a:cubicBezTo>
                    <a:pt x="173" y="192"/>
                    <a:pt x="194" y="173"/>
                    <a:pt x="206" y="149"/>
                  </a:cubicBezTo>
                  <a:moveTo>
                    <a:pt x="115" y="0"/>
                  </a:moveTo>
                  <a:cubicBezTo>
                    <a:pt x="105" y="0"/>
                    <a:pt x="95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19" y="138"/>
                    <a:pt x="21" y="143"/>
                    <a:pt x="23" y="148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18" y="125"/>
                    <a:pt x="221" y="98"/>
                    <a:pt x="213" y="72"/>
                  </a:cubicBezTo>
                  <a:cubicBezTo>
                    <a:pt x="199" y="28"/>
                    <a:pt x="159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$ḷi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0C6245A-E9AE-4B65-ABA4-7724A4CFD1FA}"/>
                </a:ext>
              </a:extLst>
            </p:cNvPr>
            <p:cNvSpPr/>
            <p:nvPr/>
          </p:nvSpPr>
          <p:spPr bwMode="auto">
            <a:xfrm>
              <a:off x="4870451" y="4699000"/>
              <a:ext cx="606425" cy="3175"/>
            </a:xfrm>
            <a:custGeom>
              <a:avLst/>
              <a:gdLst>
                <a:gd name="T0" fmla="*/ 184 w 184"/>
                <a:gd name="T1" fmla="*/ 0 h 1"/>
                <a:gd name="T2" fmla="*/ 0 w 184"/>
                <a:gd name="T3" fmla="*/ 0 h 1"/>
                <a:gd name="T4" fmla="*/ 1 w 184"/>
                <a:gd name="T5" fmla="*/ 1 h 1"/>
                <a:gd name="T6" fmla="*/ 183 w 184"/>
                <a:gd name="T7" fmla="*/ 1 h 1"/>
                <a:gd name="T8" fmla="*/ 184 w 18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1">
                  <a:moveTo>
                    <a:pt x="1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83" y="1"/>
                    <a:pt x="184" y="1"/>
                    <a:pt x="184" y="0"/>
                  </a:cubicBezTo>
                </a:path>
              </a:pathLst>
            </a:custGeom>
            <a:solidFill>
              <a:srgbClr val="93B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li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5E6F35D-DED5-4438-9D52-AE32047131B0}"/>
                </a:ext>
              </a:extLst>
            </p:cNvPr>
            <p:cNvSpPr/>
            <p:nvPr/>
          </p:nvSpPr>
          <p:spPr bwMode="auto">
            <a:xfrm>
              <a:off x="3860801" y="1406525"/>
              <a:ext cx="725488" cy="474663"/>
            </a:xfrm>
            <a:custGeom>
              <a:avLst/>
              <a:gdLst>
                <a:gd name="T0" fmla="*/ 115 w 220"/>
                <a:gd name="T1" fmla="*/ 0 h 144"/>
                <a:gd name="T2" fmla="*/ 84 w 220"/>
                <a:gd name="T3" fmla="*/ 5 h 144"/>
                <a:gd name="T4" fmla="*/ 17 w 220"/>
                <a:gd name="T5" fmla="*/ 134 h 144"/>
                <a:gd name="T6" fmla="*/ 20 w 220"/>
                <a:gd name="T7" fmla="*/ 144 h 144"/>
                <a:gd name="T8" fmla="*/ 209 w 220"/>
                <a:gd name="T9" fmla="*/ 144 h 144"/>
                <a:gd name="T10" fmla="*/ 212 w 220"/>
                <a:gd name="T11" fmla="*/ 72 h 144"/>
                <a:gd name="T12" fmla="*/ 115 w 220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144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18" y="137"/>
                    <a:pt x="19" y="141"/>
                    <a:pt x="20" y="144"/>
                  </a:cubicBezTo>
                  <a:cubicBezTo>
                    <a:pt x="209" y="144"/>
                    <a:pt x="209" y="144"/>
                    <a:pt x="209" y="144"/>
                  </a:cubicBezTo>
                  <a:cubicBezTo>
                    <a:pt x="218" y="122"/>
                    <a:pt x="220" y="97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ş1îd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0546083D-845E-48AB-AC1C-EED6A0E7E898}"/>
                </a:ext>
              </a:extLst>
            </p:cNvPr>
            <p:cNvSpPr/>
            <p:nvPr/>
          </p:nvSpPr>
          <p:spPr bwMode="auto">
            <a:xfrm>
              <a:off x="3927476" y="1881188"/>
              <a:ext cx="622300" cy="119063"/>
            </a:xfrm>
            <a:custGeom>
              <a:avLst/>
              <a:gdLst>
                <a:gd name="T0" fmla="*/ 189 w 189"/>
                <a:gd name="T1" fmla="*/ 0 h 36"/>
                <a:gd name="T2" fmla="*/ 0 w 189"/>
                <a:gd name="T3" fmla="*/ 0 h 36"/>
                <a:gd name="T4" fmla="*/ 27 w 189"/>
                <a:gd name="T5" fmla="*/ 36 h 36"/>
                <a:gd name="T6" fmla="*/ 162 w 189"/>
                <a:gd name="T7" fmla="*/ 36 h 36"/>
                <a:gd name="T8" fmla="*/ 189 w 189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36">
                  <a:moveTo>
                    <a:pt x="1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14"/>
                    <a:pt x="16" y="26"/>
                    <a:pt x="27" y="36"/>
                  </a:cubicBezTo>
                  <a:cubicBezTo>
                    <a:pt x="162" y="36"/>
                    <a:pt x="162" y="36"/>
                    <a:pt x="162" y="36"/>
                  </a:cubicBezTo>
                  <a:cubicBezTo>
                    <a:pt x="174" y="26"/>
                    <a:pt x="183" y="14"/>
                    <a:pt x="189" y="0"/>
                  </a:cubicBezTo>
                </a:path>
              </a:pathLst>
            </a:custGeom>
            <a:solidFill>
              <a:srgbClr val="A4C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ṥḻî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A684183-DD67-482A-9ADA-B6C0D1EB7867}"/>
                </a:ext>
              </a:extLst>
            </p:cNvPr>
            <p:cNvSpPr/>
            <p:nvPr/>
          </p:nvSpPr>
          <p:spPr bwMode="auto">
            <a:xfrm>
              <a:off x="4016376" y="2000250"/>
              <a:ext cx="444500" cy="85725"/>
            </a:xfrm>
            <a:custGeom>
              <a:avLst/>
              <a:gdLst>
                <a:gd name="T0" fmla="*/ 135 w 135"/>
                <a:gd name="T1" fmla="*/ 0 h 26"/>
                <a:gd name="T2" fmla="*/ 0 w 135"/>
                <a:gd name="T3" fmla="*/ 0 h 26"/>
                <a:gd name="T4" fmla="*/ 67 w 135"/>
                <a:gd name="T5" fmla="*/ 26 h 26"/>
                <a:gd name="T6" fmla="*/ 98 w 135"/>
                <a:gd name="T7" fmla="*/ 21 h 26"/>
                <a:gd name="T8" fmla="*/ 135 w 13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">
                  <a:moveTo>
                    <a:pt x="1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8" y="16"/>
                    <a:pt x="42" y="26"/>
                    <a:pt x="67" y="26"/>
                  </a:cubicBezTo>
                  <a:cubicBezTo>
                    <a:pt x="78" y="26"/>
                    <a:pt x="88" y="24"/>
                    <a:pt x="98" y="21"/>
                  </a:cubicBezTo>
                  <a:cubicBezTo>
                    <a:pt x="112" y="16"/>
                    <a:pt x="125" y="9"/>
                    <a:pt x="13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ṡḷíḍ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B108E36-7493-4EDB-B683-926A8520BAEA}"/>
                </a:ext>
              </a:extLst>
            </p:cNvPr>
            <p:cNvSpPr/>
            <p:nvPr/>
          </p:nvSpPr>
          <p:spPr bwMode="auto">
            <a:xfrm>
              <a:off x="3860801" y="2343150"/>
              <a:ext cx="755650" cy="674688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4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slîḋ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7DCB8763-F11B-4F78-BA74-B766B0E179B3}"/>
                </a:ext>
              </a:extLst>
            </p:cNvPr>
            <p:cNvSpPr/>
            <p:nvPr/>
          </p:nvSpPr>
          <p:spPr bwMode="auto">
            <a:xfrm>
              <a:off x="3860801" y="3275013"/>
              <a:ext cx="755650" cy="679450"/>
            </a:xfrm>
            <a:custGeom>
              <a:avLst/>
              <a:gdLst>
                <a:gd name="T0" fmla="*/ 115 w 229"/>
                <a:gd name="T1" fmla="*/ 0 h 206"/>
                <a:gd name="T2" fmla="*/ 84 w 229"/>
                <a:gd name="T3" fmla="*/ 5 h 206"/>
                <a:gd name="T4" fmla="*/ 17 w 229"/>
                <a:gd name="T5" fmla="*/ 134 h 206"/>
                <a:gd name="T6" fmla="*/ 114 w 229"/>
                <a:gd name="T7" fmla="*/ 206 h 206"/>
                <a:gd name="T8" fmla="*/ 145 w 229"/>
                <a:gd name="T9" fmla="*/ 201 h 206"/>
                <a:gd name="T10" fmla="*/ 212 w 229"/>
                <a:gd name="T11" fmla="*/ 72 h 206"/>
                <a:gd name="T12" fmla="*/ 115 w 229"/>
                <a:gd name="T1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6">
                  <a:moveTo>
                    <a:pt x="115" y="0"/>
                  </a:moveTo>
                  <a:cubicBezTo>
                    <a:pt x="104" y="0"/>
                    <a:pt x="94" y="2"/>
                    <a:pt x="84" y="5"/>
                  </a:cubicBezTo>
                  <a:cubicBezTo>
                    <a:pt x="30" y="22"/>
                    <a:pt x="0" y="79"/>
                    <a:pt x="17" y="134"/>
                  </a:cubicBezTo>
                  <a:cubicBezTo>
                    <a:pt x="30" y="177"/>
                    <a:pt x="71" y="206"/>
                    <a:pt x="114" y="206"/>
                  </a:cubicBezTo>
                  <a:cubicBezTo>
                    <a:pt x="125" y="206"/>
                    <a:pt x="135" y="204"/>
                    <a:pt x="145" y="201"/>
                  </a:cubicBezTo>
                  <a:cubicBezTo>
                    <a:pt x="199" y="184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şḷí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A9A1E31C-57E8-4413-943B-72709B522D7B}"/>
                </a:ext>
              </a:extLst>
            </p:cNvPr>
            <p:cNvSpPr/>
            <p:nvPr/>
          </p:nvSpPr>
          <p:spPr bwMode="auto">
            <a:xfrm>
              <a:off x="3860801" y="4211638"/>
              <a:ext cx="755650" cy="676275"/>
            </a:xfrm>
            <a:custGeom>
              <a:avLst/>
              <a:gdLst>
                <a:gd name="T0" fmla="*/ 115 w 229"/>
                <a:gd name="T1" fmla="*/ 0 h 205"/>
                <a:gd name="T2" fmla="*/ 84 w 229"/>
                <a:gd name="T3" fmla="*/ 4 h 205"/>
                <a:gd name="T4" fmla="*/ 17 w 229"/>
                <a:gd name="T5" fmla="*/ 133 h 205"/>
                <a:gd name="T6" fmla="*/ 114 w 229"/>
                <a:gd name="T7" fmla="*/ 205 h 205"/>
                <a:gd name="T8" fmla="*/ 145 w 229"/>
                <a:gd name="T9" fmla="*/ 200 h 205"/>
                <a:gd name="T10" fmla="*/ 212 w 229"/>
                <a:gd name="T11" fmla="*/ 72 h 205"/>
                <a:gd name="T12" fmla="*/ 115 w 229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05">
                  <a:moveTo>
                    <a:pt x="115" y="0"/>
                  </a:moveTo>
                  <a:cubicBezTo>
                    <a:pt x="104" y="0"/>
                    <a:pt x="94" y="1"/>
                    <a:pt x="84" y="4"/>
                  </a:cubicBezTo>
                  <a:cubicBezTo>
                    <a:pt x="30" y="21"/>
                    <a:pt x="0" y="79"/>
                    <a:pt x="17" y="133"/>
                  </a:cubicBezTo>
                  <a:cubicBezTo>
                    <a:pt x="30" y="177"/>
                    <a:pt x="71" y="205"/>
                    <a:pt x="114" y="205"/>
                  </a:cubicBezTo>
                  <a:cubicBezTo>
                    <a:pt x="125" y="205"/>
                    <a:pt x="135" y="203"/>
                    <a:pt x="145" y="200"/>
                  </a:cubicBezTo>
                  <a:cubicBezTo>
                    <a:pt x="199" y="183"/>
                    <a:pt x="229" y="126"/>
                    <a:pt x="212" y="72"/>
                  </a:cubicBezTo>
                  <a:cubicBezTo>
                    <a:pt x="199" y="28"/>
                    <a:pt x="158" y="0"/>
                    <a:pt x="115" y="0"/>
                  </a:cubicBezTo>
                </a:path>
              </a:pathLst>
            </a:custGeom>
            <a:solidFill>
              <a:srgbClr val="AAC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sľïḋ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8D15C44-61BD-4893-AD46-B50D0A97B45E}"/>
                </a:ext>
              </a:extLst>
            </p:cNvPr>
            <p:cNvSpPr/>
            <p:nvPr/>
          </p:nvSpPr>
          <p:spPr bwMode="auto">
            <a:xfrm>
              <a:off x="4754563" y="1874838"/>
              <a:ext cx="385763" cy="309563"/>
            </a:xfrm>
            <a:custGeom>
              <a:avLst/>
              <a:gdLst>
                <a:gd name="T0" fmla="*/ 116 w 117"/>
                <a:gd name="T1" fmla="*/ 94 h 94"/>
                <a:gd name="T2" fmla="*/ 0 w 117"/>
                <a:gd name="T3" fmla="*/ 1 h 94"/>
                <a:gd name="T4" fmla="*/ 3 w 117"/>
                <a:gd name="T5" fmla="*/ 0 h 94"/>
                <a:gd name="T6" fmla="*/ 117 w 117"/>
                <a:gd name="T7" fmla="*/ 90 h 94"/>
                <a:gd name="T8" fmla="*/ 116 w 117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94">
                  <a:moveTo>
                    <a:pt x="116" y="94"/>
                  </a:moveTo>
                  <a:cubicBezTo>
                    <a:pt x="62" y="90"/>
                    <a:pt x="16" y="53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9" y="50"/>
                    <a:pt x="64" y="86"/>
                    <a:pt x="117" y="90"/>
                  </a:cubicBezTo>
                  <a:lnTo>
                    <a:pt x="116" y="94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ṧļîď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64343B1B-35FD-4F08-B3FA-A2FD3AC3AD8C}"/>
                </a:ext>
              </a:extLst>
            </p:cNvPr>
            <p:cNvSpPr/>
            <p:nvPr/>
          </p:nvSpPr>
          <p:spPr bwMode="auto">
            <a:xfrm>
              <a:off x="4751388" y="1298575"/>
              <a:ext cx="565150" cy="325438"/>
            </a:xfrm>
            <a:custGeom>
              <a:avLst/>
              <a:gdLst>
                <a:gd name="T0" fmla="*/ 4 w 171"/>
                <a:gd name="T1" fmla="*/ 99 h 99"/>
                <a:gd name="T2" fmla="*/ 0 w 171"/>
                <a:gd name="T3" fmla="*/ 98 h 99"/>
                <a:gd name="T4" fmla="*/ 88 w 171"/>
                <a:gd name="T5" fmla="*/ 8 h 99"/>
                <a:gd name="T6" fmla="*/ 171 w 171"/>
                <a:gd name="T7" fmla="*/ 10 h 99"/>
                <a:gd name="T8" fmla="*/ 170 w 171"/>
                <a:gd name="T9" fmla="*/ 13 h 99"/>
                <a:gd name="T10" fmla="*/ 89 w 171"/>
                <a:gd name="T11" fmla="*/ 12 h 99"/>
                <a:gd name="T12" fmla="*/ 4 w 171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99">
                  <a:moveTo>
                    <a:pt x="4" y="99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3" y="55"/>
                    <a:pt x="46" y="22"/>
                    <a:pt x="88" y="8"/>
                  </a:cubicBezTo>
                  <a:cubicBezTo>
                    <a:pt x="115" y="0"/>
                    <a:pt x="144" y="0"/>
                    <a:pt x="171" y="10"/>
                  </a:cubicBezTo>
                  <a:cubicBezTo>
                    <a:pt x="170" y="13"/>
                    <a:pt x="170" y="13"/>
                    <a:pt x="170" y="13"/>
                  </a:cubicBezTo>
                  <a:cubicBezTo>
                    <a:pt x="144" y="4"/>
                    <a:pt x="116" y="4"/>
                    <a:pt x="89" y="12"/>
                  </a:cubicBezTo>
                  <a:cubicBezTo>
                    <a:pt x="48" y="25"/>
                    <a:pt x="16" y="58"/>
                    <a:pt x="4" y="99"/>
                  </a:cubicBez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śḷî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30CEBE0A-0160-4FD3-A8D7-54F96B5496B4}"/>
                </a:ext>
              </a:extLst>
            </p:cNvPr>
            <p:cNvSpPr/>
            <p:nvPr/>
          </p:nvSpPr>
          <p:spPr bwMode="auto">
            <a:xfrm>
              <a:off x="5399088" y="1370013"/>
              <a:ext cx="193675" cy="247650"/>
            </a:xfrm>
            <a:custGeom>
              <a:avLst/>
              <a:gdLst>
                <a:gd name="T0" fmla="*/ 56 w 59"/>
                <a:gd name="T1" fmla="*/ 75 h 75"/>
                <a:gd name="T2" fmla="*/ 0 w 59"/>
                <a:gd name="T3" fmla="*/ 3 h 75"/>
                <a:gd name="T4" fmla="*/ 2 w 59"/>
                <a:gd name="T5" fmla="*/ 0 h 75"/>
                <a:gd name="T6" fmla="*/ 59 w 59"/>
                <a:gd name="T7" fmla="*/ 74 h 75"/>
                <a:gd name="T8" fmla="*/ 56 w 5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5">
                  <a:moveTo>
                    <a:pt x="56" y="75"/>
                  </a:moveTo>
                  <a:cubicBezTo>
                    <a:pt x="46" y="45"/>
                    <a:pt x="26" y="20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9" y="17"/>
                    <a:pt x="50" y="43"/>
                    <a:pt x="59" y="74"/>
                  </a:cubicBezTo>
                  <a:lnTo>
                    <a:pt x="56" y="75"/>
                  </a:lnTo>
                  <a:close/>
                </a:path>
              </a:pathLst>
            </a:custGeom>
            <a:solidFill>
              <a:srgbClr val="559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Slïd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F5DDD409-4DC9-404E-A7FC-C02BD418FDC5}"/>
                </a:ext>
              </a:extLst>
            </p:cNvPr>
            <p:cNvSpPr/>
            <p:nvPr/>
          </p:nvSpPr>
          <p:spPr bwMode="auto">
            <a:xfrm>
              <a:off x="5038726" y="1531938"/>
              <a:ext cx="1636713" cy="1662113"/>
            </a:xfrm>
            <a:custGeom>
              <a:avLst/>
              <a:gdLst>
                <a:gd name="T0" fmla="*/ 64 w 496"/>
                <a:gd name="T1" fmla="*/ 346 h 504"/>
                <a:gd name="T2" fmla="*/ 119 w 496"/>
                <a:gd name="T3" fmla="*/ 324 h 504"/>
                <a:gd name="T4" fmla="*/ 95 w 496"/>
                <a:gd name="T5" fmla="*/ 311 h 504"/>
                <a:gd name="T6" fmla="*/ 76 w 496"/>
                <a:gd name="T7" fmla="*/ 261 h 504"/>
                <a:gd name="T8" fmla="*/ 129 w 496"/>
                <a:gd name="T9" fmla="*/ 242 h 504"/>
                <a:gd name="T10" fmla="*/ 105 w 496"/>
                <a:gd name="T11" fmla="*/ 230 h 504"/>
                <a:gd name="T12" fmla="*/ 87 w 496"/>
                <a:gd name="T13" fmla="*/ 179 h 504"/>
                <a:gd name="T14" fmla="*/ 140 w 496"/>
                <a:gd name="T15" fmla="*/ 160 h 504"/>
                <a:gd name="T16" fmla="*/ 26 w 496"/>
                <a:gd name="T17" fmla="*/ 101 h 504"/>
                <a:gd name="T18" fmla="*/ 6 w 496"/>
                <a:gd name="T19" fmla="*/ 54 h 504"/>
                <a:gd name="T20" fmla="*/ 61 w 496"/>
                <a:gd name="T21" fmla="*/ 32 h 504"/>
                <a:gd name="T22" fmla="*/ 301 w 496"/>
                <a:gd name="T23" fmla="*/ 157 h 504"/>
                <a:gd name="T24" fmla="*/ 276 w 496"/>
                <a:gd name="T25" fmla="*/ 56 h 504"/>
                <a:gd name="T26" fmla="*/ 280 w 496"/>
                <a:gd name="T27" fmla="*/ 27 h 504"/>
                <a:gd name="T28" fmla="*/ 304 w 496"/>
                <a:gd name="T29" fmla="*/ 7 h 504"/>
                <a:gd name="T30" fmla="*/ 355 w 496"/>
                <a:gd name="T31" fmla="*/ 31 h 504"/>
                <a:gd name="T32" fmla="*/ 433 w 496"/>
                <a:gd name="T33" fmla="*/ 236 h 504"/>
                <a:gd name="T34" fmla="*/ 470 w 496"/>
                <a:gd name="T35" fmla="*/ 276 h 504"/>
                <a:gd name="T36" fmla="*/ 483 w 496"/>
                <a:gd name="T37" fmla="*/ 284 h 504"/>
                <a:gd name="T38" fmla="*/ 491 w 496"/>
                <a:gd name="T39" fmla="*/ 308 h 504"/>
                <a:gd name="T40" fmla="*/ 395 w 496"/>
                <a:gd name="T41" fmla="*/ 491 h 504"/>
                <a:gd name="T42" fmla="*/ 371 w 496"/>
                <a:gd name="T43" fmla="*/ 499 h 504"/>
                <a:gd name="T44" fmla="*/ 337 w 496"/>
                <a:gd name="T45" fmla="*/ 481 h 504"/>
                <a:gd name="T46" fmla="*/ 296 w 496"/>
                <a:gd name="T47" fmla="*/ 473 h 504"/>
                <a:gd name="T48" fmla="*/ 196 w 496"/>
                <a:gd name="T49" fmla="*/ 451 h 504"/>
                <a:gd name="T50" fmla="*/ 84 w 496"/>
                <a:gd name="T51" fmla="*/ 393 h 504"/>
                <a:gd name="T52" fmla="*/ 64 w 496"/>
                <a:gd name="T53" fmla="*/ 34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6" h="504">
                  <a:moveTo>
                    <a:pt x="64" y="346"/>
                  </a:moveTo>
                  <a:cubicBezTo>
                    <a:pt x="72" y="323"/>
                    <a:pt x="98" y="313"/>
                    <a:pt x="119" y="324"/>
                  </a:cubicBezTo>
                  <a:cubicBezTo>
                    <a:pt x="95" y="311"/>
                    <a:pt x="95" y="311"/>
                    <a:pt x="95" y="311"/>
                  </a:cubicBezTo>
                  <a:cubicBezTo>
                    <a:pt x="77" y="302"/>
                    <a:pt x="68" y="280"/>
                    <a:pt x="76" y="261"/>
                  </a:cubicBezTo>
                  <a:cubicBezTo>
                    <a:pt x="85" y="240"/>
                    <a:pt x="110" y="232"/>
                    <a:pt x="129" y="242"/>
                  </a:cubicBezTo>
                  <a:cubicBezTo>
                    <a:pt x="105" y="230"/>
                    <a:pt x="105" y="230"/>
                    <a:pt x="105" y="230"/>
                  </a:cubicBezTo>
                  <a:cubicBezTo>
                    <a:pt x="87" y="220"/>
                    <a:pt x="78" y="198"/>
                    <a:pt x="87" y="179"/>
                  </a:cubicBezTo>
                  <a:cubicBezTo>
                    <a:pt x="96" y="158"/>
                    <a:pt x="120" y="150"/>
                    <a:pt x="140" y="160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9" y="92"/>
                    <a:pt x="0" y="72"/>
                    <a:pt x="6" y="54"/>
                  </a:cubicBezTo>
                  <a:cubicBezTo>
                    <a:pt x="14" y="31"/>
                    <a:pt x="40" y="21"/>
                    <a:pt x="61" y="32"/>
                  </a:cubicBezTo>
                  <a:cubicBezTo>
                    <a:pt x="301" y="157"/>
                    <a:pt x="301" y="157"/>
                    <a:pt x="301" y="157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4" y="46"/>
                    <a:pt x="275" y="36"/>
                    <a:pt x="280" y="27"/>
                  </a:cubicBezTo>
                  <a:cubicBezTo>
                    <a:pt x="285" y="18"/>
                    <a:pt x="293" y="10"/>
                    <a:pt x="304" y="7"/>
                  </a:cubicBezTo>
                  <a:cubicBezTo>
                    <a:pt x="325" y="0"/>
                    <a:pt x="347" y="11"/>
                    <a:pt x="355" y="31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40" y="253"/>
                    <a:pt x="453" y="268"/>
                    <a:pt x="470" y="276"/>
                  </a:cubicBezTo>
                  <a:cubicBezTo>
                    <a:pt x="483" y="284"/>
                    <a:pt x="483" y="284"/>
                    <a:pt x="483" y="284"/>
                  </a:cubicBezTo>
                  <a:cubicBezTo>
                    <a:pt x="492" y="288"/>
                    <a:pt x="496" y="299"/>
                    <a:pt x="491" y="308"/>
                  </a:cubicBezTo>
                  <a:cubicBezTo>
                    <a:pt x="395" y="491"/>
                    <a:pt x="395" y="491"/>
                    <a:pt x="395" y="491"/>
                  </a:cubicBezTo>
                  <a:cubicBezTo>
                    <a:pt x="390" y="500"/>
                    <a:pt x="379" y="504"/>
                    <a:pt x="371" y="499"/>
                  </a:cubicBezTo>
                  <a:cubicBezTo>
                    <a:pt x="337" y="481"/>
                    <a:pt x="337" y="481"/>
                    <a:pt x="337" y="481"/>
                  </a:cubicBezTo>
                  <a:cubicBezTo>
                    <a:pt x="324" y="475"/>
                    <a:pt x="310" y="472"/>
                    <a:pt x="296" y="473"/>
                  </a:cubicBezTo>
                  <a:cubicBezTo>
                    <a:pt x="261" y="475"/>
                    <a:pt x="227" y="467"/>
                    <a:pt x="196" y="451"/>
                  </a:cubicBezTo>
                  <a:cubicBezTo>
                    <a:pt x="84" y="393"/>
                    <a:pt x="84" y="393"/>
                    <a:pt x="84" y="393"/>
                  </a:cubicBezTo>
                  <a:cubicBezTo>
                    <a:pt x="67" y="384"/>
                    <a:pt x="58" y="364"/>
                    <a:pt x="64" y="346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ļïḑe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4C81C5AE-B696-4E6B-95AD-A561B5D706E2}"/>
                </a:ext>
              </a:extLst>
            </p:cNvPr>
            <p:cNvSpPr/>
            <p:nvPr/>
          </p:nvSpPr>
          <p:spPr bwMode="auto">
            <a:xfrm>
              <a:off x="5019676" y="1512888"/>
              <a:ext cx="1674813" cy="1690688"/>
            </a:xfrm>
            <a:custGeom>
              <a:avLst/>
              <a:gdLst>
                <a:gd name="T0" fmla="*/ 374 w 508"/>
                <a:gd name="T1" fmla="*/ 510 h 513"/>
                <a:gd name="T2" fmla="*/ 302 w 508"/>
                <a:gd name="T3" fmla="*/ 485 h 513"/>
                <a:gd name="T4" fmla="*/ 87 w 508"/>
                <a:gd name="T5" fmla="*/ 404 h 513"/>
                <a:gd name="T6" fmla="*/ 90 w 508"/>
                <a:gd name="T7" fmla="*/ 323 h 513"/>
                <a:gd name="T8" fmla="*/ 76 w 508"/>
                <a:gd name="T9" fmla="*/ 264 h 513"/>
                <a:gd name="T10" fmla="*/ 106 w 508"/>
                <a:gd name="T11" fmla="*/ 239 h 513"/>
                <a:gd name="T12" fmla="*/ 113 w 508"/>
                <a:gd name="T13" fmla="*/ 159 h 513"/>
                <a:gd name="T14" fmla="*/ 29 w 508"/>
                <a:gd name="T15" fmla="*/ 112 h 513"/>
                <a:gd name="T16" fmla="*/ 32 w 508"/>
                <a:gd name="T17" fmla="*/ 31 h 513"/>
                <a:gd name="T18" fmla="*/ 298 w 508"/>
                <a:gd name="T19" fmla="*/ 152 h 513"/>
                <a:gd name="T20" fmla="*/ 280 w 508"/>
                <a:gd name="T21" fmla="*/ 30 h 513"/>
                <a:gd name="T22" fmla="*/ 366 w 508"/>
                <a:gd name="T23" fmla="*/ 35 h 513"/>
                <a:gd name="T24" fmla="*/ 478 w 508"/>
                <a:gd name="T25" fmla="*/ 277 h 513"/>
                <a:gd name="T26" fmla="*/ 502 w 508"/>
                <a:gd name="T27" fmla="*/ 317 h 513"/>
                <a:gd name="T28" fmla="*/ 385 w 508"/>
                <a:gd name="T29" fmla="*/ 513 h 513"/>
                <a:gd name="T30" fmla="*/ 346 w 508"/>
                <a:gd name="T31" fmla="*/ 482 h 513"/>
                <a:gd name="T32" fmla="*/ 389 w 508"/>
                <a:gd name="T33" fmla="*/ 501 h 513"/>
                <a:gd name="T34" fmla="*/ 492 w 508"/>
                <a:gd name="T35" fmla="*/ 311 h 513"/>
                <a:gd name="T36" fmla="*/ 473 w 508"/>
                <a:gd name="T37" fmla="*/ 288 h 513"/>
                <a:gd name="T38" fmla="*/ 355 w 508"/>
                <a:gd name="T39" fmla="*/ 40 h 513"/>
                <a:gd name="T40" fmla="*/ 291 w 508"/>
                <a:gd name="T41" fmla="*/ 36 h 513"/>
                <a:gd name="T42" fmla="*/ 313 w 508"/>
                <a:gd name="T43" fmla="*/ 162 h 513"/>
                <a:gd name="T44" fmla="*/ 304 w 508"/>
                <a:gd name="T45" fmla="*/ 168 h 513"/>
                <a:gd name="T46" fmla="*/ 37 w 508"/>
                <a:gd name="T47" fmla="*/ 42 h 513"/>
                <a:gd name="T48" fmla="*/ 35 w 508"/>
                <a:gd name="T49" fmla="*/ 101 h 513"/>
                <a:gd name="T50" fmla="*/ 151 w 508"/>
                <a:gd name="T51" fmla="*/ 169 h 513"/>
                <a:gd name="T52" fmla="*/ 117 w 508"/>
                <a:gd name="T53" fmla="*/ 170 h 513"/>
                <a:gd name="T54" fmla="*/ 114 w 508"/>
                <a:gd name="T55" fmla="*/ 230 h 513"/>
                <a:gd name="T56" fmla="*/ 141 w 508"/>
                <a:gd name="T57" fmla="*/ 251 h 513"/>
                <a:gd name="T58" fmla="*/ 133 w 508"/>
                <a:gd name="T59" fmla="*/ 253 h 513"/>
                <a:gd name="T60" fmla="*/ 87 w 508"/>
                <a:gd name="T61" fmla="*/ 269 h 513"/>
                <a:gd name="T62" fmla="*/ 127 w 508"/>
                <a:gd name="T63" fmla="*/ 324 h 513"/>
                <a:gd name="T64" fmla="*/ 130 w 508"/>
                <a:gd name="T65" fmla="*/ 332 h 513"/>
                <a:gd name="T66" fmla="*/ 122 w 508"/>
                <a:gd name="T67" fmla="*/ 335 h 513"/>
                <a:gd name="T68" fmla="*/ 76 w 508"/>
                <a:gd name="T69" fmla="*/ 354 h 513"/>
                <a:gd name="T70" fmla="*/ 205 w 508"/>
                <a:gd name="T71" fmla="*/ 452 h 513"/>
                <a:gd name="T72" fmla="*/ 306 w 508"/>
                <a:gd name="T73" fmla="*/ 473 h 513"/>
                <a:gd name="T74" fmla="*/ 70 w 508"/>
                <a:gd name="T75" fmla="*/ 352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8" h="513">
                  <a:moveTo>
                    <a:pt x="385" y="513"/>
                  </a:moveTo>
                  <a:cubicBezTo>
                    <a:pt x="381" y="513"/>
                    <a:pt x="377" y="512"/>
                    <a:pt x="374" y="510"/>
                  </a:cubicBezTo>
                  <a:cubicBezTo>
                    <a:pt x="340" y="493"/>
                    <a:pt x="340" y="493"/>
                    <a:pt x="340" y="493"/>
                  </a:cubicBezTo>
                  <a:cubicBezTo>
                    <a:pt x="329" y="487"/>
                    <a:pt x="316" y="484"/>
                    <a:pt x="302" y="485"/>
                  </a:cubicBezTo>
                  <a:cubicBezTo>
                    <a:pt x="266" y="487"/>
                    <a:pt x="231" y="479"/>
                    <a:pt x="199" y="463"/>
                  </a:cubicBezTo>
                  <a:cubicBezTo>
                    <a:pt x="87" y="404"/>
                    <a:pt x="87" y="404"/>
                    <a:pt x="87" y="404"/>
                  </a:cubicBezTo>
                  <a:cubicBezTo>
                    <a:pt x="67" y="394"/>
                    <a:pt x="57" y="370"/>
                    <a:pt x="64" y="350"/>
                  </a:cubicBezTo>
                  <a:cubicBezTo>
                    <a:pt x="69" y="337"/>
                    <a:pt x="78" y="327"/>
                    <a:pt x="90" y="323"/>
                  </a:cubicBezTo>
                  <a:cubicBezTo>
                    <a:pt x="92" y="322"/>
                    <a:pt x="93" y="321"/>
                    <a:pt x="95" y="321"/>
                  </a:cubicBezTo>
                  <a:cubicBezTo>
                    <a:pt x="76" y="309"/>
                    <a:pt x="68" y="285"/>
                    <a:pt x="76" y="264"/>
                  </a:cubicBezTo>
                  <a:cubicBezTo>
                    <a:pt x="81" y="253"/>
                    <a:pt x="91" y="244"/>
                    <a:pt x="103" y="240"/>
                  </a:cubicBezTo>
                  <a:cubicBezTo>
                    <a:pt x="104" y="240"/>
                    <a:pt x="105" y="239"/>
                    <a:pt x="106" y="239"/>
                  </a:cubicBezTo>
                  <a:cubicBezTo>
                    <a:pt x="86" y="227"/>
                    <a:pt x="78" y="203"/>
                    <a:pt x="87" y="183"/>
                  </a:cubicBezTo>
                  <a:cubicBezTo>
                    <a:pt x="92" y="171"/>
                    <a:pt x="101" y="163"/>
                    <a:pt x="113" y="159"/>
                  </a:cubicBezTo>
                  <a:cubicBezTo>
                    <a:pt x="114" y="158"/>
                    <a:pt x="115" y="158"/>
                    <a:pt x="116" y="158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9" y="102"/>
                    <a:pt x="0" y="78"/>
                    <a:pt x="7" y="58"/>
                  </a:cubicBezTo>
                  <a:cubicBezTo>
                    <a:pt x="11" y="45"/>
                    <a:pt x="20" y="35"/>
                    <a:pt x="32" y="31"/>
                  </a:cubicBezTo>
                  <a:cubicBezTo>
                    <a:pt x="44" y="26"/>
                    <a:pt x="58" y="26"/>
                    <a:pt x="70" y="32"/>
                  </a:cubicBezTo>
                  <a:cubicBezTo>
                    <a:pt x="298" y="152"/>
                    <a:pt x="298" y="152"/>
                    <a:pt x="298" y="152"/>
                  </a:cubicBezTo>
                  <a:cubicBezTo>
                    <a:pt x="276" y="63"/>
                    <a:pt x="276" y="63"/>
                    <a:pt x="276" y="63"/>
                  </a:cubicBezTo>
                  <a:cubicBezTo>
                    <a:pt x="274" y="52"/>
                    <a:pt x="275" y="41"/>
                    <a:pt x="280" y="30"/>
                  </a:cubicBezTo>
                  <a:cubicBezTo>
                    <a:pt x="286" y="19"/>
                    <a:pt x="296" y="11"/>
                    <a:pt x="308" y="7"/>
                  </a:cubicBezTo>
                  <a:cubicBezTo>
                    <a:pt x="332" y="0"/>
                    <a:pt x="357" y="12"/>
                    <a:pt x="366" y="35"/>
                  </a:cubicBezTo>
                  <a:cubicBezTo>
                    <a:pt x="445" y="240"/>
                    <a:pt x="445" y="240"/>
                    <a:pt x="445" y="240"/>
                  </a:cubicBezTo>
                  <a:cubicBezTo>
                    <a:pt x="451" y="256"/>
                    <a:pt x="463" y="269"/>
                    <a:pt x="478" y="277"/>
                  </a:cubicBezTo>
                  <a:cubicBezTo>
                    <a:pt x="492" y="284"/>
                    <a:pt x="492" y="284"/>
                    <a:pt x="492" y="284"/>
                  </a:cubicBezTo>
                  <a:cubicBezTo>
                    <a:pt x="504" y="290"/>
                    <a:pt x="508" y="305"/>
                    <a:pt x="502" y="317"/>
                  </a:cubicBezTo>
                  <a:cubicBezTo>
                    <a:pt x="406" y="500"/>
                    <a:pt x="406" y="500"/>
                    <a:pt x="406" y="500"/>
                  </a:cubicBezTo>
                  <a:cubicBezTo>
                    <a:pt x="402" y="508"/>
                    <a:pt x="394" y="513"/>
                    <a:pt x="385" y="513"/>
                  </a:cubicBezTo>
                  <a:close/>
                  <a:moveTo>
                    <a:pt x="306" y="473"/>
                  </a:moveTo>
                  <a:cubicBezTo>
                    <a:pt x="320" y="473"/>
                    <a:pt x="334" y="476"/>
                    <a:pt x="346" y="482"/>
                  </a:cubicBezTo>
                  <a:cubicBezTo>
                    <a:pt x="379" y="500"/>
                    <a:pt x="379" y="500"/>
                    <a:pt x="379" y="500"/>
                  </a:cubicBezTo>
                  <a:cubicBezTo>
                    <a:pt x="382" y="501"/>
                    <a:pt x="386" y="502"/>
                    <a:pt x="389" y="501"/>
                  </a:cubicBezTo>
                  <a:cubicBezTo>
                    <a:pt x="392" y="500"/>
                    <a:pt x="394" y="497"/>
                    <a:pt x="396" y="495"/>
                  </a:cubicBezTo>
                  <a:cubicBezTo>
                    <a:pt x="492" y="311"/>
                    <a:pt x="492" y="311"/>
                    <a:pt x="492" y="311"/>
                  </a:cubicBezTo>
                  <a:cubicBezTo>
                    <a:pt x="495" y="305"/>
                    <a:pt x="492" y="298"/>
                    <a:pt x="486" y="295"/>
                  </a:cubicBezTo>
                  <a:cubicBezTo>
                    <a:pt x="473" y="288"/>
                    <a:pt x="473" y="288"/>
                    <a:pt x="473" y="288"/>
                  </a:cubicBezTo>
                  <a:cubicBezTo>
                    <a:pt x="455" y="278"/>
                    <a:pt x="441" y="263"/>
                    <a:pt x="434" y="244"/>
                  </a:cubicBezTo>
                  <a:cubicBezTo>
                    <a:pt x="355" y="40"/>
                    <a:pt x="355" y="40"/>
                    <a:pt x="355" y="40"/>
                  </a:cubicBezTo>
                  <a:cubicBezTo>
                    <a:pt x="348" y="22"/>
                    <a:pt x="329" y="13"/>
                    <a:pt x="312" y="19"/>
                  </a:cubicBezTo>
                  <a:cubicBezTo>
                    <a:pt x="303" y="21"/>
                    <a:pt x="295" y="28"/>
                    <a:pt x="291" y="36"/>
                  </a:cubicBezTo>
                  <a:cubicBezTo>
                    <a:pt x="287" y="43"/>
                    <a:pt x="286" y="52"/>
                    <a:pt x="288" y="61"/>
                  </a:cubicBezTo>
                  <a:cubicBezTo>
                    <a:pt x="313" y="162"/>
                    <a:pt x="313" y="162"/>
                    <a:pt x="313" y="162"/>
                  </a:cubicBezTo>
                  <a:cubicBezTo>
                    <a:pt x="313" y="164"/>
                    <a:pt x="312" y="166"/>
                    <a:pt x="311" y="168"/>
                  </a:cubicBezTo>
                  <a:cubicBezTo>
                    <a:pt x="309" y="169"/>
                    <a:pt x="306" y="170"/>
                    <a:pt x="304" y="168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56" y="39"/>
                    <a:pt x="46" y="38"/>
                    <a:pt x="37" y="42"/>
                  </a:cubicBezTo>
                  <a:cubicBezTo>
                    <a:pt x="28" y="45"/>
                    <a:pt x="21" y="52"/>
                    <a:pt x="18" y="62"/>
                  </a:cubicBezTo>
                  <a:cubicBezTo>
                    <a:pt x="13" y="77"/>
                    <a:pt x="20" y="94"/>
                    <a:pt x="35" y="10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52" y="163"/>
                    <a:pt x="153" y="166"/>
                    <a:pt x="151" y="169"/>
                  </a:cubicBezTo>
                  <a:cubicBezTo>
                    <a:pt x="150" y="172"/>
                    <a:pt x="146" y="173"/>
                    <a:pt x="143" y="172"/>
                  </a:cubicBezTo>
                  <a:cubicBezTo>
                    <a:pt x="135" y="167"/>
                    <a:pt x="126" y="167"/>
                    <a:pt x="117" y="170"/>
                  </a:cubicBezTo>
                  <a:cubicBezTo>
                    <a:pt x="109" y="173"/>
                    <a:pt x="102" y="179"/>
                    <a:pt x="98" y="188"/>
                  </a:cubicBezTo>
                  <a:cubicBezTo>
                    <a:pt x="91" y="203"/>
                    <a:pt x="98" y="222"/>
                    <a:pt x="114" y="230"/>
                  </a:cubicBezTo>
                  <a:cubicBezTo>
                    <a:pt x="138" y="243"/>
                    <a:pt x="138" y="243"/>
                    <a:pt x="138" y="243"/>
                  </a:cubicBezTo>
                  <a:cubicBezTo>
                    <a:pt x="141" y="244"/>
                    <a:pt x="142" y="248"/>
                    <a:pt x="141" y="251"/>
                  </a:cubicBezTo>
                  <a:cubicBezTo>
                    <a:pt x="139" y="254"/>
                    <a:pt x="135" y="255"/>
                    <a:pt x="133" y="253"/>
                  </a:cubicBezTo>
                  <a:cubicBezTo>
                    <a:pt x="133" y="253"/>
                    <a:pt x="133" y="253"/>
                    <a:pt x="133" y="253"/>
                  </a:cubicBezTo>
                  <a:cubicBezTo>
                    <a:pt x="125" y="249"/>
                    <a:pt x="115" y="248"/>
                    <a:pt x="107" y="251"/>
                  </a:cubicBezTo>
                  <a:cubicBezTo>
                    <a:pt x="98" y="255"/>
                    <a:pt x="91" y="261"/>
                    <a:pt x="87" y="269"/>
                  </a:cubicBezTo>
                  <a:cubicBezTo>
                    <a:pt x="81" y="285"/>
                    <a:pt x="88" y="304"/>
                    <a:pt x="104" y="312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27" y="324"/>
                    <a:pt x="127" y="324"/>
                    <a:pt x="127" y="324"/>
                  </a:cubicBezTo>
                  <a:cubicBezTo>
                    <a:pt x="130" y="326"/>
                    <a:pt x="131" y="329"/>
                    <a:pt x="130" y="332"/>
                  </a:cubicBezTo>
                  <a:cubicBezTo>
                    <a:pt x="128" y="335"/>
                    <a:pt x="125" y="336"/>
                    <a:pt x="122" y="335"/>
                  </a:cubicBezTo>
                  <a:cubicBezTo>
                    <a:pt x="122" y="335"/>
                    <a:pt x="122" y="335"/>
                    <a:pt x="122" y="335"/>
                  </a:cubicBezTo>
                  <a:cubicBezTo>
                    <a:pt x="113" y="331"/>
                    <a:pt x="103" y="330"/>
                    <a:pt x="95" y="334"/>
                  </a:cubicBezTo>
                  <a:cubicBezTo>
                    <a:pt x="86" y="337"/>
                    <a:pt x="79" y="344"/>
                    <a:pt x="76" y="354"/>
                  </a:cubicBezTo>
                  <a:cubicBezTo>
                    <a:pt x="71" y="369"/>
                    <a:pt x="78" y="386"/>
                    <a:pt x="93" y="393"/>
                  </a:cubicBezTo>
                  <a:cubicBezTo>
                    <a:pt x="205" y="452"/>
                    <a:pt x="205" y="452"/>
                    <a:pt x="205" y="452"/>
                  </a:cubicBezTo>
                  <a:cubicBezTo>
                    <a:pt x="234" y="468"/>
                    <a:pt x="268" y="475"/>
                    <a:pt x="301" y="473"/>
                  </a:cubicBezTo>
                  <a:cubicBezTo>
                    <a:pt x="303" y="473"/>
                    <a:pt x="305" y="473"/>
                    <a:pt x="306" y="473"/>
                  </a:cubicBezTo>
                  <a:close/>
                  <a:moveTo>
                    <a:pt x="70" y="352"/>
                  </a:moveTo>
                  <a:cubicBezTo>
                    <a:pt x="70" y="352"/>
                    <a:pt x="70" y="352"/>
                    <a:pt x="70" y="352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şḷíḓè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2003C87E-0233-4C52-82EE-075F7A104318}"/>
                </a:ext>
              </a:extLst>
            </p:cNvPr>
            <p:cNvSpPr/>
            <p:nvPr/>
          </p:nvSpPr>
          <p:spPr bwMode="auto">
            <a:xfrm>
              <a:off x="5408613" y="2576513"/>
              <a:ext cx="141288" cy="92075"/>
            </a:xfrm>
            <a:custGeom>
              <a:avLst/>
              <a:gdLst>
                <a:gd name="T0" fmla="*/ 37 w 43"/>
                <a:gd name="T1" fmla="*/ 28 h 28"/>
                <a:gd name="T2" fmla="*/ 34 w 43"/>
                <a:gd name="T3" fmla="*/ 28 h 28"/>
                <a:gd name="T4" fmla="*/ 4 w 43"/>
                <a:gd name="T5" fmla="*/ 12 h 28"/>
                <a:gd name="T6" fmla="*/ 1 w 43"/>
                <a:gd name="T7" fmla="*/ 4 h 28"/>
                <a:gd name="T8" fmla="*/ 9 w 43"/>
                <a:gd name="T9" fmla="*/ 1 h 28"/>
                <a:gd name="T10" fmla="*/ 39 w 43"/>
                <a:gd name="T11" fmla="*/ 17 h 28"/>
                <a:gd name="T12" fmla="*/ 42 w 43"/>
                <a:gd name="T13" fmla="*/ 25 h 28"/>
                <a:gd name="T14" fmla="*/ 37 w 43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8">
                  <a:moveTo>
                    <a:pt x="37" y="28"/>
                  </a:moveTo>
                  <a:cubicBezTo>
                    <a:pt x="36" y="28"/>
                    <a:pt x="35" y="28"/>
                    <a:pt x="34" y="2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2" y="18"/>
                    <a:pt x="43" y="22"/>
                    <a:pt x="42" y="25"/>
                  </a:cubicBezTo>
                  <a:cubicBezTo>
                    <a:pt x="41" y="27"/>
                    <a:pt x="39" y="28"/>
                    <a:pt x="37" y="28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s1íḋé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E0B5D4C0-6A52-407C-ABE1-A2E5FFB93528}"/>
                </a:ext>
              </a:extLst>
            </p:cNvPr>
            <p:cNvSpPr/>
            <p:nvPr/>
          </p:nvSpPr>
          <p:spPr bwMode="auto">
            <a:xfrm>
              <a:off x="5441951" y="2306638"/>
              <a:ext cx="144463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5 w 44"/>
                <a:gd name="T5" fmla="*/ 12 h 29"/>
                <a:gd name="T6" fmla="*/ 2 w 44"/>
                <a:gd name="T7" fmla="*/ 4 h 29"/>
                <a:gd name="T8" fmla="*/ 10 w 44"/>
                <a:gd name="T9" fmla="*/ 2 h 29"/>
                <a:gd name="T10" fmla="*/ 40 w 44"/>
                <a:gd name="T11" fmla="*/ 17 h 29"/>
                <a:gd name="T12" fmla="*/ 43 w 44"/>
                <a:gd name="T13" fmla="*/ 25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8"/>
                    <a:pt x="34" y="2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7"/>
                    <a:pt x="2" y="4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3" y="19"/>
                    <a:pt x="44" y="22"/>
                    <a:pt x="43" y="25"/>
                  </a:cubicBezTo>
                  <a:cubicBezTo>
                    <a:pt x="41" y="27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1îďê">
              <a:extLst>
                <a:ext uri="{FF2B5EF4-FFF2-40B4-BE49-F238E27FC236}">
  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BF70AF8D-7022-416B-A1C7-6879AD20DCC7}"/>
                </a:ext>
              </a:extLst>
            </p:cNvPr>
            <p:cNvSpPr/>
            <p:nvPr/>
          </p:nvSpPr>
          <p:spPr bwMode="auto">
            <a:xfrm>
              <a:off x="5476876" y="2036763"/>
              <a:ext cx="146050" cy="95250"/>
            </a:xfrm>
            <a:custGeom>
              <a:avLst/>
              <a:gdLst>
                <a:gd name="T0" fmla="*/ 37 w 44"/>
                <a:gd name="T1" fmla="*/ 29 h 29"/>
                <a:gd name="T2" fmla="*/ 34 w 44"/>
                <a:gd name="T3" fmla="*/ 28 h 29"/>
                <a:gd name="T4" fmla="*/ 4 w 44"/>
                <a:gd name="T5" fmla="*/ 13 h 29"/>
                <a:gd name="T6" fmla="*/ 2 w 44"/>
                <a:gd name="T7" fmla="*/ 5 h 29"/>
                <a:gd name="T8" fmla="*/ 10 w 44"/>
                <a:gd name="T9" fmla="*/ 2 h 29"/>
                <a:gd name="T10" fmla="*/ 40 w 44"/>
                <a:gd name="T11" fmla="*/ 18 h 29"/>
                <a:gd name="T12" fmla="*/ 42 w 44"/>
                <a:gd name="T13" fmla="*/ 26 h 29"/>
                <a:gd name="T14" fmla="*/ 37 w 4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9">
                  <a:moveTo>
                    <a:pt x="37" y="29"/>
                  </a:moveTo>
                  <a:cubicBezTo>
                    <a:pt x="36" y="29"/>
                    <a:pt x="35" y="29"/>
                    <a:pt x="34" y="28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5"/>
                  </a:cubicBezTo>
                  <a:cubicBezTo>
                    <a:pt x="3" y="2"/>
                    <a:pt x="7" y="0"/>
                    <a:pt x="10" y="2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3" y="19"/>
                    <a:pt x="44" y="23"/>
                    <a:pt x="42" y="26"/>
                  </a:cubicBezTo>
                  <a:cubicBezTo>
                    <a:pt x="41" y="28"/>
                    <a:pt x="39" y="29"/>
                    <a:pt x="37" y="29"/>
                  </a:cubicBezTo>
                  <a:close/>
                </a:path>
              </a:pathLst>
            </a:custGeom>
            <a:solidFill>
              <a:srgbClr val="005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481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Demo</a:t>
            </a:r>
            <a:endParaRPr lang="zh-TW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這邊使用官方網站的範例來做解說</a:t>
            </a:r>
            <a:endParaRPr lang="en-US" altLang="zh-TW" dirty="0" smtClean="0"/>
          </a:p>
          <a:p>
            <a:r>
              <a:rPr lang="zh-TW" altLang="en-US" dirty="0" smtClean="0"/>
              <a:t>將西班牙文翻譯成英文的一個 應用</a:t>
            </a:r>
            <a:endParaRPr lang="en-US" altLang="zh-TW" dirty="0" smtClean="0"/>
          </a:p>
          <a:p>
            <a:r>
              <a:rPr lang="en-US" altLang="zh-TW" dirty="0">
                <a:hlinkClick r:id="rId3"/>
              </a:rPr>
              <a:t>https://</a:t>
            </a:r>
            <a:r>
              <a:rPr lang="en-US" altLang="zh-TW" dirty="0" smtClean="0">
                <a:hlinkClick r:id="rId3"/>
              </a:rPr>
              <a:t>tensorflow.google.cn/tutorials/text/transformer#create_the_transformer</a:t>
            </a:r>
            <a:endParaRPr lang="en-US" altLang="zh-TW" dirty="0" smtClean="0"/>
          </a:p>
          <a:p>
            <a:endParaRPr lang="zh-TW" altLang="en-US" dirty="0"/>
          </a:p>
        </p:txBody>
      </p:sp>
      <p:grpSp>
        <p:nvGrpSpPr>
          <p:cNvPr id="7" name="组合 1"/>
          <p:cNvGrpSpPr/>
          <p:nvPr/>
        </p:nvGrpSpPr>
        <p:grpSpPr>
          <a:xfrm>
            <a:off x="7023785" y="2594528"/>
            <a:ext cx="4659312" cy="3413125"/>
            <a:chOff x="3767138" y="1727200"/>
            <a:chExt cx="4659312" cy="3413125"/>
          </a:xfrm>
        </p:grpSpPr>
        <p:sp>
          <p:nvSpPr>
            <p:cNvPr id="8" name="矩形 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81200D-B9FF-4805-869D-28A24F39464C}"/>
                </a:ext>
              </a:extLst>
            </p:cNvPr>
            <p:cNvSpPr/>
            <p:nvPr/>
          </p:nvSpPr>
          <p:spPr bwMode="auto">
            <a:xfrm>
              <a:off x="4989513" y="1943100"/>
              <a:ext cx="2870200" cy="26924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BE348BE-9463-47B1-A2F0-5DE44F096EB8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26924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BB175826-E63F-4316-A0FB-B526082F1999}"/>
                </a:ext>
              </a:extLst>
            </p:cNvPr>
            <p:cNvSpPr/>
            <p:nvPr/>
          </p:nvSpPr>
          <p:spPr bwMode="auto">
            <a:xfrm>
              <a:off x="4783138" y="1727200"/>
              <a:ext cx="2860675" cy="404813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65AC1F9-717A-4353-A071-38488F057AE4}"/>
                </a:ext>
              </a:extLst>
            </p:cNvPr>
            <p:cNvSpPr/>
            <p:nvPr/>
          </p:nvSpPr>
          <p:spPr bwMode="auto">
            <a:xfrm>
              <a:off x="5170488" y="2501900"/>
              <a:ext cx="701675" cy="522288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2EB5A212-36B0-4794-AF59-E7F439C4F52C}"/>
                </a:ext>
              </a:extLst>
            </p:cNvPr>
            <p:cNvSpPr/>
            <p:nvPr/>
          </p:nvSpPr>
          <p:spPr bwMode="auto">
            <a:xfrm>
              <a:off x="5170488" y="3240088"/>
              <a:ext cx="701675" cy="522288"/>
            </a:xfrm>
            <a:prstGeom prst="rect">
              <a:avLst/>
            </a:prstGeom>
            <a:solidFill>
              <a:srgbClr val="F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任意多边形 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87F2913-61C4-4DCF-9C78-A10B3F80102E}"/>
                </a:ext>
              </a:extLst>
            </p:cNvPr>
            <p:cNvSpPr/>
            <p:nvPr/>
          </p:nvSpPr>
          <p:spPr bwMode="auto">
            <a:xfrm>
              <a:off x="4198938" y="2771775"/>
              <a:ext cx="458788" cy="450850"/>
            </a:xfrm>
            <a:custGeom>
              <a:avLst/>
              <a:gdLst>
                <a:gd name="T0" fmla="*/ 12 w 51"/>
                <a:gd name="T1" fmla="*/ 50 h 50"/>
                <a:gd name="T2" fmla="*/ 0 w 51"/>
                <a:gd name="T3" fmla="*/ 39 h 50"/>
                <a:gd name="T4" fmla="*/ 37 w 51"/>
                <a:gd name="T5" fmla="*/ 3 h 50"/>
                <a:gd name="T6" fmla="*/ 48 w 51"/>
                <a:gd name="T7" fmla="*/ 3 h 50"/>
                <a:gd name="T8" fmla="*/ 48 w 51"/>
                <a:gd name="T9" fmla="*/ 3 h 50"/>
                <a:gd name="T10" fmla="*/ 48 w 51"/>
                <a:gd name="T11" fmla="*/ 14 h 50"/>
                <a:gd name="T12" fmla="*/ 12 w 51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0">
                  <a:moveTo>
                    <a:pt x="12" y="50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40" y="0"/>
                    <a:pt x="45" y="0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1" y="6"/>
                    <a:pt x="51" y="11"/>
                    <a:pt x="48" y="14"/>
                  </a:cubicBezTo>
                  <a:lnTo>
                    <a:pt x="12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 1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343E7A6-F472-4720-BFC9-9A6BF57944B2}"/>
                </a:ext>
              </a:extLst>
            </p:cNvPr>
            <p:cNvSpPr/>
            <p:nvPr/>
          </p:nvSpPr>
          <p:spPr bwMode="auto">
            <a:xfrm>
              <a:off x="4378325" y="2266950"/>
              <a:ext cx="800100" cy="792163"/>
            </a:xfrm>
            <a:custGeom>
              <a:avLst/>
              <a:gdLst>
                <a:gd name="T0" fmla="*/ 73 w 89"/>
                <a:gd name="T1" fmla="*/ 72 h 88"/>
                <a:gd name="T2" fmla="*/ 16 w 89"/>
                <a:gd name="T3" fmla="*/ 72 h 88"/>
                <a:gd name="T4" fmla="*/ 16 w 89"/>
                <a:gd name="T5" fmla="*/ 15 h 88"/>
                <a:gd name="T6" fmla="*/ 73 w 89"/>
                <a:gd name="T7" fmla="*/ 15 h 88"/>
                <a:gd name="T8" fmla="*/ 73 w 89"/>
                <a:gd name="T9" fmla="*/ 7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73" y="72"/>
                  </a:moveTo>
                  <a:cubicBezTo>
                    <a:pt x="57" y="88"/>
                    <a:pt x="32" y="88"/>
                    <a:pt x="16" y="72"/>
                  </a:cubicBezTo>
                  <a:cubicBezTo>
                    <a:pt x="0" y="57"/>
                    <a:pt x="0" y="31"/>
                    <a:pt x="16" y="15"/>
                  </a:cubicBezTo>
                  <a:cubicBezTo>
                    <a:pt x="32" y="0"/>
                    <a:pt x="57" y="0"/>
                    <a:pt x="73" y="15"/>
                  </a:cubicBezTo>
                  <a:cubicBezTo>
                    <a:pt x="89" y="31"/>
                    <a:pt x="89" y="57"/>
                    <a:pt x="73" y="72"/>
                  </a:cubicBez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任意多边形 1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041A0CF-3201-49F2-BBEC-6D2BA0159D63}"/>
                </a:ext>
              </a:extLst>
            </p:cNvPr>
            <p:cNvSpPr/>
            <p:nvPr/>
          </p:nvSpPr>
          <p:spPr bwMode="auto">
            <a:xfrm>
              <a:off x="3767138" y="3051175"/>
              <a:ext cx="611188" cy="603250"/>
            </a:xfrm>
            <a:custGeom>
              <a:avLst/>
              <a:gdLst>
                <a:gd name="T0" fmla="*/ 20 w 68"/>
                <a:gd name="T1" fmla="*/ 67 h 67"/>
                <a:gd name="T2" fmla="*/ 0 w 68"/>
                <a:gd name="T3" fmla="*/ 47 h 67"/>
                <a:gd name="T4" fmla="*/ 45 w 68"/>
                <a:gd name="T5" fmla="*/ 2 h 67"/>
                <a:gd name="T6" fmla="*/ 55 w 68"/>
                <a:gd name="T7" fmla="*/ 2 h 67"/>
                <a:gd name="T8" fmla="*/ 65 w 68"/>
                <a:gd name="T9" fmla="*/ 12 h 67"/>
                <a:gd name="T10" fmla="*/ 65 w 68"/>
                <a:gd name="T11" fmla="*/ 22 h 67"/>
                <a:gd name="T12" fmla="*/ 20 w 68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7">
                  <a:moveTo>
                    <a:pt x="20" y="67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3" y="0"/>
                    <a:pt x="55" y="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8" y="15"/>
                    <a:pt x="68" y="19"/>
                    <a:pt x="65" y="22"/>
                  </a:cubicBezTo>
                  <a:lnTo>
                    <a:pt x="20" y="67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任意多边形 1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4B66B47-D4ED-4032-8AE7-CF7E0714E6EF}"/>
                </a:ext>
              </a:extLst>
            </p:cNvPr>
            <p:cNvSpPr/>
            <p:nvPr/>
          </p:nvSpPr>
          <p:spPr bwMode="auto">
            <a:xfrm>
              <a:off x="4378325" y="2303463"/>
              <a:ext cx="395288" cy="720725"/>
            </a:xfrm>
            <a:custGeom>
              <a:avLst/>
              <a:gdLst>
                <a:gd name="T0" fmla="*/ 44 w 44"/>
                <a:gd name="T1" fmla="*/ 0 h 80"/>
                <a:gd name="T2" fmla="*/ 16 w 44"/>
                <a:gd name="T3" fmla="*/ 11 h 80"/>
                <a:gd name="T4" fmla="*/ 16 w 44"/>
                <a:gd name="T5" fmla="*/ 68 h 80"/>
                <a:gd name="T6" fmla="*/ 44 w 44"/>
                <a:gd name="T7" fmla="*/ 80 h 80"/>
                <a:gd name="T8" fmla="*/ 44 w 44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80">
                  <a:moveTo>
                    <a:pt x="44" y="0"/>
                  </a:moveTo>
                  <a:cubicBezTo>
                    <a:pt x="34" y="0"/>
                    <a:pt x="24" y="4"/>
                    <a:pt x="16" y="11"/>
                  </a:cubicBezTo>
                  <a:cubicBezTo>
                    <a:pt x="0" y="27"/>
                    <a:pt x="0" y="53"/>
                    <a:pt x="16" y="68"/>
                  </a:cubicBezTo>
                  <a:cubicBezTo>
                    <a:pt x="24" y="76"/>
                    <a:pt x="34" y="80"/>
                    <a:pt x="44" y="8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任意多边形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B8D82A3-2185-4276-AF28-A2C50B57CC81}"/>
                </a:ext>
              </a:extLst>
            </p:cNvPr>
            <p:cNvSpPr/>
            <p:nvPr/>
          </p:nvSpPr>
          <p:spPr bwMode="auto">
            <a:xfrm>
              <a:off x="4243388" y="2141538"/>
              <a:ext cx="1035050" cy="1035050"/>
            </a:xfrm>
            <a:custGeom>
              <a:avLst/>
              <a:gdLst>
                <a:gd name="T0" fmla="*/ 21 w 115"/>
                <a:gd name="T1" fmla="*/ 95 h 115"/>
                <a:gd name="T2" fmla="*/ 21 w 115"/>
                <a:gd name="T3" fmla="*/ 21 h 115"/>
                <a:gd name="T4" fmla="*/ 95 w 115"/>
                <a:gd name="T5" fmla="*/ 21 h 115"/>
                <a:gd name="T6" fmla="*/ 95 w 115"/>
                <a:gd name="T7" fmla="*/ 95 h 115"/>
                <a:gd name="T8" fmla="*/ 21 w 115"/>
                <a:gd name="T9" fmla="*/ 95 h 115"/>
                <a:gd name="T10" fmla="*/ 83 w 115"/>
                <a:gd name="T11" fmla="*/ 32 h 115"/>
                <a:gd name="T12" fmla="*/ 32 w 115"/>
                <a:gd name="T13" fmla="*/ 32 h 115"/>
                <a:gd name="T14" fmla="*/ 32 w 115"/>
                <a:gd name="T15" fmla="*/ 84 h 115"/>
                <a:gd name="T16" fmla="*/ 83 w 115"/>
                <a:gd name="T17" fmla="*/ 84 h 115"/>
                <a:gd name="T18" fmla="*/ 83 w 115"/>
                <a:gd name="T19" fmla="*/ 3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21" y="95"/>
                  </a:moveTo>
                  <a:cubicBezTo>
                    <a:pt x="0" y="74"/>
                    <a:pt x="0" y="41"/>
                    <a:pt x="21" y="21"/>
                  </a:cubicBezTo>
                  <a:cubicBezTo>
                    <a:pt x="41" y="0"/>
                    <a:pt x="74" y="0"/>
                    <a:pt x="95" y="21"/>
                  </a:cubicBezTo>
                  <a:cubicBezTo>
                    <a:pt x="115" y="41"/>
                    <a:pt x="115" y="74"/>
                    <a:pt x="95" y="95"/>
                  </a:cubicBezTo>
                  <a:cubicBezTo>
                    <a:pt x="74" y="115"/>
                    <a:pt x="41" y="115"/>
                    <a:pt x="21" y="95"/>
                  </a:cubicBezTo>
                  <a:close/>
                  <a:moveTo>
                    <a:pt x="83" y="32"/>
                  </a:moveTo>
                  <a:cubicBezTo>
                    <a:pt x="69" y="18"/>
                    <a:pt x="46" y="18"/>
                    <a:pt x="32" y="32"/>
                  </a:cubicBezTo>
                  <a:cubicBezTo>
                    <a:pt x="18" y="46"/>
                    <a:pt x="18" y="69"/>
                    <a:pt x="32" y="84"/>
                  </a:cubicBezTo>
                  <a:cubicBezTo>
                    <a:pt x="46" y="98"/>
                    <a:pt x="69" y="98"/>
                    <a:pt x="83" y="84"/>
                  </a:cubicBezTo>
                  <a:cubicBezTo>
                    <a:pt x="98" y="69"/>
                    <a:pt x="98" y="46"/>
                    <a:pt x="83" y="32"/>
                  </a:cubicBez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840192BD-899C-4394-9097-272CE0A3EAFE}"/>
                </a:ext>
              </a:extLst>
            </p:cNvPr>
            <p:cNvSpPr/>
            <p:nvPr/>
          </p:nvSpPr>
          <p:spPr bwMode="auto">
            <a:xfrm>
              <a:off x="6061075" y="2501900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矩形 1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7A951F1B-9887-4454-9BD1-E09D3F4DACC5}"/>
                </a:ext>
              </a:extLst>
            </p:cNvPr>
            <p:cNvSpPr/>
            <p:nvPr/>
          </p:nvSpPr>
          <p:spPr bwMode="auto">
            <a:xfrm>
              <a:off x="6061075" y="2717800"/>
              <a:ext cx="800100" cy="98425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矩形 1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163C6715-019F-4913-B45C-D40254CCDC51}"/>
                </a:ext>
              </a:extLst>
            </p:cNvPr>
            <p:cNvSpPr/>
            <p:nvPr/>
          </p:nvSpPr>
          <p:spPr bwMode="auto">
            <a:xfrm>
              <a:off x="6061075" y="2924175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矩形 2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41E73F18-A437-4524-9138-EC6CAEE3ECD6}"/>
                </a:ext>
              </a:extLst>
            </p:cNvPr>
            <p:cNvSpPr/>
            <p:nvPr/>
          </p:nvSpPr>
          <p:spPr bwMode="auto">
            <a:xfrm>
              <a:off x="6061075" y="3240088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矩形 2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7F7EECE-CBF5-466E-8210-389196078690}"/>
                </a:ext>
              </a:extLst>
            </p:cNvPr>
            <p:cNvSpPr/>
            <p:nvPr/>
          </p:nvSpPr>
          <p:spPr bwMode="auto">
            <a:xfrm>
              <a:off x="6061075" y="3446463"/>
              <a:ext cx="800100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矩形 2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8B1CE05A-02BF-4AB4-99DD-8FF9DA0897FE}"/>
                </a:ext>
              </a:extLst>
            </p:cNvPr>
            <p:cNvSpPr/>
            <p:nvPr/>
          </p:nvSpPr>
          <p:spPr bwMode="auto">
            <a:xfrm>
              <a:off x="6061075" y="3663950"/>
              <a:ext cx="404813" cy="107950"/>
            </a:xfrm>
            <a:prstGeom prst="rect">
              <a:avLst/>
            </a:pr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 2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59D8291-4384-4CF0-BBEA-433C1091262B}"/>
                </a:ext>
              </a:extLst>
            </p:cNvPr>
            <p:cNvSpPr/>
            <p:nvPr/>
          </p:nvSpPr>
          <p:spPr bwMode="auto">
            <a:xfrm>
              <a:off x="4368800" y="3744913"/>
              <a:ext cx="585788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 2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59DAFEB-9B74-420D-84C2-0EA6E01961E0}"/>
                </a:ext>
              </a:extLst>
            </p:cNvPr>
            <p:cNvSpPr/>
            <p:nvPr/>
          </p:nvSpPr>
          <p:spPr bwMode="auto">
            <a:xfrm>
              <a:off x="4117975" y="3744913"/>
              <a:ext cx="584200" cy="836613"/>
            </a:xfrm>
            <a:custGeom>
              <a:avLst/>
              <a:gdLst>
                <a:gd name="T0" fmla="*/ 65 w 65"/>
                <a:gd name="T1" fmla="*/ 93 h 93"/>
                <a:gd name="T2" fmla="*/ 0 w 65"/>
                <a:gd name="T3" fmla="*/ 93 h 93"/>
                <a:gd name="T4" fmla="*/ 0 w 65"/>
                <a:gd name="T5" fmla="*/ 32 h 93"/>
                <a:gd name="T6" fmla="*/ 33 w 65"/>
                <a:gd name="T7" fmla="*/ 0 h 93"/>
                <a:gd name="T8" fmla="*/ 65 w 65"/>
                <a:gd name="T9" fmla="*/ 32 h 93"/>
                <a:gd name="T10" fmla="*/ 65 w 65"/>
                <a:gd name="T11" fmla="*/ 93 h 93"/>
                <a:gd name="T12" fmla="*/ 12 w 65"/>
                <a:gd name="T13" fmla="*/ 82 h 93"/>
                <a:gd name="T14" fmla="*/ 53 w 65"/>
                <a:gd name="T15" fmla="*/ 82 h 93"/>
                <a:gd name="T16" fmla="*/ 53 w 65"/>
                <a:gd name="T17" fmla="*/ 32 h 93"/>
                <a:gd name="T18" fmla="*/ 33 w 65"/>
                <a:gd name="T19" fmla="*/ 11 h 93"/>
                <a:gd name="T20" fmla="*/ 12 w 65"/>
                <a:gd name="T21" fmla="*/ 32 h 93"/>
                <a:gd name="T22" fmla="*/ 12 w 65"/>
                <a:gd name="T2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93">
                  <a:moveTo>
                    <a:pt x="65" y="93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0" y="0"/>
                    <a:pt x="65" y="14"/>
                    <a:pt x="65" y="32"/>
                  </a:cubicBezTo>
                  <a:lnTo>
                    <a:pt x="65" y="93"/>
                  </a:lnTo>
                  <a:close/>
                  <a:moveTo>
                    <a:pt x="12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1"/>
                    <a:pt x="44" y="11"/>
                    <a:pt x="33" y="11"/>
                  </a:cubicBezTo>
                  <a:cubicBezTo>
                    <a:pt x="21" y="11"/>
                    <a:pt x="12" y="21"/>
                    <a:pt x="12" y="32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矩形 25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14E3F8E-9129-4DBF-84B0-E6A972CA5BBC}"/>
                </a:ext>
              </a:extLst>
            </p:cNvPr>
            <p:cNvSpPr/>
            <p:nvPr/>
          </p:nvSpPr>
          <p:spPr bwMode="auto">
            <a:xfrm>
              <a:off x="4198938" y="4194175"/>
              <a:ext cx="944563" cy="94615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578405F-0FB3-45FE-A69A-3CA38FBB9A48}"/>
                </a:ext>
              </a:extLst>
            </p:cNvPr>
            <p:cNvSpPr/>
            <p:nvPr/>
          </p:nvSpPr>
          <p:spPr bwMode="auto">
            <a:xfrm>
              <a:off x="3946525" y="4194175"/>
              <a:ext cx="944563" cy="94615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 24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AA9C4B8C-558E-4A77-8237-D47CDAE8915B}"/>
                </a:ext>
              </a:extLst>
            </p:cNvPr>
            <p:cNvSpPr/>
            <p:nvPr/>
          </p:nvSpPr>
          <p:spPr bwMode="auto">
            <a:xfrm>
              <a:off x="4260850" y="4510088"/>
              <a:ext cx="323850" cy="314325"/>
            </a:xfrm>
            <a:custGeom>
              <a:avLst/>
              <a:gdLst>
                <a:gd name="T0" fmla="*/ 204 w 204"/>
                <a:gd name="T1" fmla="*/ 62 h 198"/>
                <a:gd name="T2" fmla="*/ 136 w 204"/>
                <a:gd name="T3" fmla="*/ 62 h 198"/>
                <a:gd name="T4" fmla="*/ 136 w 204"/>
                <a:gd name="T5" fmla="*/ 0 h 198"/>
                <a:gd name="T6" fmla="*/ 63 w 204"/>
                <a:gd name="T7" fmla="*/ 0 h 198"/>
                <a:gd name="T8" fmla="*/ 63 w 204"/>
                <a:gd name="T9" fmla="*/ 62 h 198"/>
                <a:gd name="T10" fmla="*/ 0 w 204"/>
                <a:gd name="T11" fmla="*/ 62 h 198"/>
                <a:gd name="T12" fmla="*/ 0 w 204"/>
                <a:gd name="T13" fmla="*/ 136 h 198"/>
                <a:gd name="T14" fmla="*/ 63 w 204"/>
                <a:gd name="T15" fmla="*/ 136 h 198"/>
                <a:gd name="T16" fmla="*/ 63 w 204"/>
                <a:gd name="T17" fmla="*/ 198 h 198"/>
                <a:gd name="T18" fmla="*/ 136 w 204"/>
                <a:gd name="T19" fmla="*/ 198 h 198"/>
                <a:gd name="T20" fmla="*/ 136 w 204"/>
                <a:gd name="T21" fmla="*/ 136 h 198"/>
                <a:gd name="T22" fmla="*/ 204 w 204"/>
                <a:gd name="T23" fmla="*/ 136 h 198"/>
                <a:gd name="T24" fmla="*/ 204 w 204"/>
                <a:gd name="T25" fmla="*/ 6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8">
                  <a:moveTo>
                    <a:pt x="204" y="62"/>
                  </a:moveTo>
                  <a:lnTo>
                    <a:pt x="136" y="62"/>
                  </a:lnTo>
                  <a:lnTo>
                    <a:pt x="136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0" y="62"/>
                  </a:lnTo>
                  <a:lnTo>
                    <a:pt x="0" y="136"/>
                  </a:lnTo>
                  <a:lnTo>
                    <a:pt x="63" y="136"/>
                  </a:lnTo>
                  <a:lnTo>
                    <a:pt x="63" y="198"/>
                  </a:lnTo>
                  <a:lnTo>
                    <a:pt x="136" y="198"/>
                  </a:lnTo>
                  <a:lnTo>
                    <a:pt x="136" y="136"/>
                  </a:lnTo>
                  <a:lnTo>
                    <a:pt x="204" y="136"/>
                  </a:lnTo>
                  <a:lnTo>
                    <a:pt x="204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矩形 2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F67D59-A400-46DD-909B-8ABAC782718A}"/>
                </a:ext>
              </a:extLst>
            </p:cNvPr>
            <p:cNvSpPr/>
            <p:nvPr/>
          </p:nvSpPr>
          <p:spPr bwMode="auto">
            <a:xfrm>
              <a:off x="7400925" y="2347913"/>
              <a:ext cx="1025525" cy="1701800"/>
            </a:xfrm>
            <a:prstGeom prst="rect">
              <a:avLst/>
            </a:prstGeom>
            <a:solidFill>
              <a:srgbClr val="006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FEB52BD-8F0D-4EFD-BBC5-78C7F79FFE5E}"/>
                </a:ext>
              </a:extLst>
            </p:cNvPr>
            <p:cNvSpPr/>
            <p:nvPr/>
          </p:nvSpPr>
          <p:spPr bwMode="auto">
            <a:xfrm>
              <a:off x="7202488" y="2347913"/>
              <a:ext cx="1025525" cy="1701800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E1FF207-8DC9-42B2-A669-1953A6F28D51}"/>
                </a:ext>
              </a:extLst>
            </p:cNvPr>
            <p:cNvSpPr/>
            <p:nvPr/>
          </p:nvSpPr>
          <p:spPr bwMode="auto">
            <a:xfrm>
              <a:off x="7319963" y="2455863"/>
              <a:ext cx="800100" cy="12795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椭圆 28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63B42D2B-45E3-43CD-B4DC-128A15F55582}"/>
                </a:ext>
              </a:extLst>
            </p:cNvPr>
            <p:cNvSpPr/>
            <p:nvPr/>
          </p:nvSpPr>
          <p:spPr bwMode="auto">
            <a:xfrm>
              <a:off x="7643813" y="3806825"/>
              <a:ext cx="179388" cy="180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 29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E103A84-7EEE-4642-84B6-188CA6520BBA}"/>
                </a:ext>
              </a:extLst>
            </p:cNvPr>
            <p:cNvSpPr/>
            <p:nvPr/>
          </p:nvSpPr>
          <p:spPr bwMode="auto">
            <a:xfrm>
              <a:off x="7464425" y="2852738"/>
              <a:ext cx="547688" cy="477838"/>
            </a:xfrm>
            <a:custGeom>
              <a:avLst/>
              <a:gdLst>
                <a:gd name="T0" fmla="*/ 130 w 345"/>
                <a:gd name="T1" fmla="*/ 301 h 301"/>
                <a:gd name="T2" fmla="*/ 0 w 345"/>
                <a:gd name="T3" fmla="*/ 170 h 301"/>
                <a:gd name="T4" fmla="*/ 45 w 345"/>
                <a:gd name="T5" fmla="*/ 119 h 301"/>
                <a:gd name="T6" fmla="*/ 124 w 345"/>
                <a:gd name="T7" fmla="*/ 199 h 301"/>
                <a:gd name="T8" fmla="*/ 294 w 345"/>
                <a:gd name="T9" fmla="*/ 0 h 301"/>
                <a:gd name="T10" fmla="*/ 345 w 345"/>
                <a:gd name="T11" fmla="*/ 45 h 301"/>
                <a:gd name="T12" fmla="*/ 130 w 345"/>
                <a:gd name="T1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" h="301">
                  <a:moveTo>
                    <a:pt x="130" y="301"/>
                  </a:moveTo>
                  <a:lnTo>
                    <a:pt x="0" y="170"/>
                  </a:lnTo>
                  <a:lnTo>
                    <a:pt x="45" y="119"/>
                  </a:lnTo>
                  <a:lnTo>
                    <a:pt x="124" y="199"/>
                  </a:lnTo>
                  <a:lnTo>
                    <a:pt x="294" y="0"/>
                  </a:lnTo>
                  <a:lnTo>
                    <a:pt x="345" y="45"/>
                  </a:lnTo>
                  <a:lnTo>
                    <a:pt x="130" y="301"/>
                  </a:lnTo>
                  <a:close/>
                </a:path>
              </a:pathLst>
            </a:cu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矩形 3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2874787-B04E-4EB0-84B0-B96716B27EE5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333375"/>
            </a:xfrm>
            <a:prstGeom prst="rect">
              <a:avLst/>
            </a:pr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 31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3A8EEBA0-125C-48F1-A053-FC643C95C12A}"/>
                </a:ext>
              </a:extLst>
            </p:cNvPr>
            <p:cNvSpPr/>
            <p:nvPr/>
          </p:nvSpPr>
          <p:spPr bwMode="auto">
            <a:xfrm>
              <a:off x="7437438" y="4806950"/>
              <a:ext cx="520700" cy="333375"/>
            </a:xfrm>
            <a:custGeom>
              <a:avLst/>
              <a:gdLst>
                <a:gd name="T0" fmla="*/ 0 w 328"/>
                <a:gd name="T1" fmla="*/ 210 h 210"/>
                <a:gd name="T2" fmla="*/ 328 w 328"/>
                <a:gd name="T3" fmla="*/ 102 h 210"/>
                <a:gd name="T4" fmla="*/ 0 w 328"/>
                <a:gd name="T5" fmla="*/ 0 h 210"/>
                <a:gd name="T6" fmla="*/ 0 w 328"/>
                <a:gd name="T7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8" h="210">
                  <a:moveTo>
                    <a:pt x="0" y="210"/>
                  </a:moveTo>
                  <a:lnTo>
                    <a:pt x="328" y="102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 32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232A4E4-94C9-41BB-A2AA-D0754491F637}"/>
                </a:ext>
              </a:extLst>
            </p:cNvPr>
            <p:cNvSpPr/>
            <p:nvPr/>
          </p:nvSpPr>
          <p:spPr bwMode="auto">
            <a:xfrm>
              <a:off x="7761288" y="4905375"/>
              <a:ext cx="196850" cy="127000"/>
            </a:xfrm>
            <a:custGeom>
              <a:avLst/>
              <a:gdLst>
                <a:gd name="T0" fmla="*/ 0 w 124"/>
                <a:gd name="T1" fmla="*/ 80 h 80"/>
                <a:gd name="T2" fmla="*/ 124 w 124"/>
                <a:gd name="T3" fmla="*/ 40 h 80"/>
                <a:gd name="T4" fmla="*/ 0 w 124"/>
                <a:gd name="T5" fmla="*/ 0 h 80"/>
                <a:gd name="T6" fmla="*/ 0 w 12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80">
                  <a:moveTo>
                    <a:pt x="0" y="80"/>
                  </a:moveTo>
                  <a:lnTo>
                    <a:pt x="124" y="4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007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矩形 36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EFA1B136-1DCC-439B-A809-9F260FDDC6CE}"/>
                </a:ext>
              </a:extLst>
            </p:cNvPr>
            <p:cNvSpPr/>
            <p:nvPr/>
          </p:nvSpPr>
          <p:spPr bwMode="auto">
            <a:xfrm>
              <a:off x="5359400" y="4806950"/>
              <a:ext cx="2078038" cy="161925"/>
            </a:xfrm>
            <a:prstGeom prst="rect">
              <a:avLst/>
            </a:prstGeom>
            <a:solidFill>
              <a:srgbClr val="58B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64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ḷï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$ļîḑè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ïślidê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idé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sḷîde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9800" dirty="0"/>
              <a:t>THANKS</a:t>
            </a:r>
            <a:r>
              <a:rPr lang="en-US" altLang="zh-CN" sz="12800" dirty="0"/>
              <a:t/>
            </a:r>
            <a:br>
              <a:rPr lang="en-US" altLang="zh-CN" sz="12800" dirty="0"/>
            </a:br>
            <a:endParaRPr lang="zh-CN" altLang="en-US" dirty="0"/>
          </a:p>
        </p:txBody>
      </p:sp>
      <p:sp>
        <p:nvSpPr>
          <p:cNvPr id="6" name="îŝ1íḋ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以 </a:t>
            </a:r>
            <a:r>
              <a:rPr lang="en-US" altLang="zh-TW" dirty="0"/>
              <a:t>RNN </a:t>
            </a:r>
            <a:r>
              <a:rPr lang="zh-TW" altLang="en-US" dirty="0"/>
              <a:t>為基礎的 </a:t>
            </a:r>
            <a:r>
              <a:rPr lang="en-US" altLang="zh-TW" dirty="0"/>
              <a:t>Seq2Seq </a:t>
            </a:r>
            <a:r>
              <a:rPr lang="zh-TW" altLang="en-US" dirty="0"/>
              <a:t>模型做 </a:t>
            </a:r>
            <a:r>
              <a:rPr lang="en-US" altLang="zh-TW" dirty="0"/>
              <a:t>NMT </a:t>
            </a:r>
            <a:r>
              <a:rPr lang="zh-TW" altLang="en-US" dirty="0"/>
              <a:t>的</a:t>
            </a:r>
            <a:r>
              <a:rPr lang="zh-TW" altLang="en-US" dirty="0" smtClean="0"/>
              <a:t>流程</a:t>
            </a:r>
            <a:endParaRPr lang="en-US" altLang="zh-TW" dirty="0" smtClean="0"/>
          </a:p>
          <a:p>
            <a:r>
              <a:rPr lang="en-US" altLang="zh-TW" dirty="0"/>
              <a:t>Seq2Seq </a:t>
            </a:r>
            <a:r>
              <a:rPr lang="zh-TW" altLang="en-US" dirty="0"/>
              <a:t>模型裡的一個重要假設是 </a:t>
            </a:r>
            <a:r>
              <a:rPr lang="en-US" altLang="zh-TW" dirty="0"/>
              <a:t>Encoder </a:t>
            </a:r>
            <a:r>
              <a:rPr lang="zh-TW" altLang="en-US" dirty="0"/>
              <a:t>能把輸入句子的語義 </a:t>
            </a:r>
            <a:r>
              <a:rPr lang="en-US" altLang="zh-TW" dirty="0"/>
              <a:t>/ </a:t>
            </a:r>
            <a:r>
              <a:rPr lang="zh-TW" altLang="en-US" dirty="0"/>
              <a:t>文本脈絡全都壓縮</a:t>
            </a:r>
            <a:r>
              <a:rPr lang="zh-TW" altLang="en-US" dirty="0" smtClean="0"/>
              <a:t>成一個固定</a:t>
            </a:r>
            <a:r>
              <a:rPr lang="zh-TW" altLang="en-US" dirty="0"/>
              <a:t>維度的語義向量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TW" altLang="en-US" dirty="0" smtClean="0"/>
              <a:t>之後 </a:t>
            </a:r>
            <a:r>
              <a:rPr lang="en-US" altLang="zh-TW" dirty="0"/>
              <a:t>Decoder </a:t>
            </a:r>
            <a:r>
              <a:rPr lang="zh-TW" altLang="en-US" dirty="0"/>
              <a:t>只要利用該向量裡頭的資訊就能重新生成具有相同意義，但不同語言的句子。但你可以想像當我們只有一個向量的時候，是不太可能把一個很長的句子的所有資訊打包起來的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117" y="2953746"/>
            <a:ext cx="7010217" cy="30961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9257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err="1" smtClean="0"/>
              <a:t>rnn</a:t>
            </a:r>
            <a:r>
              <a:rPr lang="en-US" altLang="zh-TW" dirty="0" smtClean="0"/>
              <a:t>/seq2seq</a:t>
            </a:r>
            <a:r>
              <a:rPr lang="zh-TW" altLang="en-US" dirty="0"/>
              <a:t>的問題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無法有效的平行運算</a:t>
            </a:r>
            <a:r>
              <a:rPr lang="en-US" altLang="zh-TW" dirty="0"/>
              <a:t>,</a:t>
            </a:r>
            <a:r>
              <a:rPr lang="zh-TW" altLang="en-US" dirty="0"/>
              <a:t>速度慢</a:t>
            </a:r>
            <a:r>
              <a:rPr lang="en-US" altLang="zh-TW" dirty="0"/>
              <a:t>.</a:t>
            </a:r>
          </a:p>
          <a:p>
            <a:r>
              <a:rPr lang="zh-TW" altLang="en-US" dirty="0"/>
              <a:t>一個有 </a:t>
            </a:r>
            <a:r>
              <a:rPr lang="en-US" altLang="zh-TW" dirty="0"/>
              <a:t>4 </a:t>
            </a:r>
            <a:r>
              <a:rPr lang="zh-TW" altLang="en-US" dirty="0"/>
              <a:t>個元素的輸入序列為例：</a:t>
            </a:r>
            <a:r>
              <a:rPr lang="en-US" altLang="zh-TW" dirty="0"/>
              <a:t>[a1, a2, a3, a4] , </a:t>
            </a:r>
            <a:r>
              <a:rPr lang="zh-TW" altLang="en-US" dirty="0"/>
              <a:t>要獲得最後一個時間點的輸出向量 </a:t>
            </a:r>
            <a:r>
              <a:rPr lang="en-US" altLang="zh-TW" dirty="0"/>
              <a:t>b4 </a:t>
            </a:r>
            <a:r>
              <a:rPr lang="zh-TW" altLang="en-US" dirty="0"/>
              <a:t>得把整個輸入序列跑過一遍才行：</a:t>
            </a:r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297" y="2059748"/>
            <a:ext cx="9280894" cy="4084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60441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ḷ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ľîḑê"/>
          <p:cNvSpPr>
            <a:spLocks noGrp="1"/>
          </p:cNvSpPr>
          <p:nvPr>
            <p:ph type="title"/>
          </p:nvPr>
        </p:nvSpPr>
        <p:spPr>
          <a:xfrm>
            <a:off x="4751615" y="3380413"/>
            <a:ext cx="5419185" cy="895350"/>
          </a:xfrm>
        </p:spPr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概念 </a:t>
            </a:r>
          </a:p>
        </p:txBody>
      </p:sp>
      <p:sp>
        <p:nvSpPr>
          <p:cNvPr id="6" name="isliḋê"/>
          <p:cNvSpPr>
            <a:spLocks noGrp="1"/>
          </p:cNvSpPr>
          <p:nvPr>
            <p:ph type="body" idx="1"/>
          </p:nvPr>
        </p:nvSpPr>
        <p:spPr>
          <a:xfrm>
            <a:off x="4752731" y="4275763"/>
            <a:ext cx="5419185" cy="1015623"/>
          </a:xfrm>
        </p:spPr>
        <p:txBody>
          <a:bodyPr/>
          <a:lstStyle/>
          <a:p>
            <a:pPr lvl="0"/>
            <a:r>
              <a:rPr lang="en-US" altLang="zh-CN" dirty="0" smtClean="0"/>
              <a:t>All you need is pay attention</a:t>
            </a:r>
            <a:endParaRPr lang="en-US" altLang="zh-CN" dirty="0"/>
          </a:p>
        </p:txBody>
      </p:sp>
      <p:sp>
        <p:nvSpPr>
          <p:cNvPr id="9" name="iṧḻiḑe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51615" y="1566614"/>
            <a:ext cx="2141996" cy="186238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9182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Attention</a:t>
            </a:r>
            <a:r>
              <a:rPr lang="zh-TW" altLang="en-US" dirty="0"/>
              <a:t>機制跟人類翻譯文章時候的思路有些類似，即將注意力關注於我們翻譯部分對應的上下文</a:t>
            </a:r>
            <a:r>
              <a:rPr lang="zh-TW" altLang="en-US" dirty="0" smtClean="0"/>
              <a:t>。</a:t>
            </a:r>
            <a:endParaRPr lang="zh-TW" altLang="en-US" dirty="0"/>
          </a:p>
          <a:p>
            <a:r>
              <a:rPr lang="zh-TW" altLang="en-US" dirty="0"/>
              <a:t>同樣的，</a:t>
            </a:r>
            <a:r>
              <a:rPr lang="en-US" altLang="zh-TW" dirty="0"/>
              <a:t>Attention</a:t>
            </a:r>
            <a:r>
              <a:rPr lang="zh-TW" altLang="en-US" dirty="0"/>
              <a:t>模型中，當我們翻譯當前詞語時，我們會尋找源語句中相對應的幾個詞語，並結合之前的已經翻譯的部分作出相應的</a:t>
            </a:r>
            <a:r>
              <a:rPr lang="zh-TW" altLang="en-US" dirty="0" smtClean="0"/>
              <a:t>翻譯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10" name="圖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421" y="2284782"/>
            <a:ext cx="6863010" cy="34886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25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ḻ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ḷidê">
            <a:extLst>
              <a:ext uri="{FF2B5EF4-FFF2-40B4-BE49-F238E27FC236}">
                <a16:creationId xmlns="" xmlns:p14="http://schemas.microsoft.com/office/powerpoint/2010/main" xmlns:a16="http://schemas.microsoft.com/office/drawing/2014/main" id="{625D0406-0787-4EE6-9393-820D5CE03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2" name="íṣľiḑe">
            <a:extLst>
              <a:ext uri="{FF2B5EF4-FFF2-40B4-BE49-F238E27FC236}">
                <a16:creationId xmlns="" xmlns:p14="http://schemas.microsoft.com/office/powerpoint/2010/main" xmlns:a16="http://schemas.microsoft.com/office/drawing/2014/main" id="{8AC4395B-A0A0-4D81-B628-E4F9AB374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力的概念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注意力機制（</a:t>
            </a:r>
            <a:r>
              <a:rPr lang="en-US" altLang="zh-TW" dirty="0"/>
              <a:t>Attention Mechanism</a:t>
            </a:r>
            <a:r>
              <a:rPr lang="zh-TW" altLang="en-US" dirty="0"/>
              <a:t>）的</a:t>
            </a:r>
            <a:r>
              <a:rPr lang="zh-TW" altLang="en-US" dirty="0" smtClean="0"/>
              <a:t>中心思想</a:t>
            </a:r>
            <a:endParaRPr lang="zh-TW" altLang="en-US" dirty="0"/>
          </a:p>
          <a:p>
            <a:r>
              <a:rPr lang="zh-TW" altLang="en-US" dirty="0"/>
              <a:t>與其只把 </a:t>
            </a:r>
            <a:r>
              <a:rPr lang="en-US" altLang="zh-TW" dirty="0"/>
              <a:t>Encoder </a:t>
            </a:r>
            <a:r>
              <a:rPr lang="zh-TW" altLang="en-US" dirty="0"/>
              <a:t>處理完句子產生的最後「一個」向量交給 </a:t>
            </a:r>
            <a:r>
              <a:rPr lang="en-US" altLang="zh-TW" dirty="0"/>
              <a:t>Decoder </a:t>
            </a:r>
            <a:r>
              <a:rPr lang="zh-TW" altLang="en-US" dirty="0"/>
              <a:t>並要求其從中萃取整句資訊，不如將 </a:t>
            </a:r>
            <a:r>
              <a:rPr lang="en-US" altLang="zh-TW" dirty="0"/>
              <a:t>Encoder  </a:t>
            </a:r>
            <a:r>
              <a:rPr lang="zh-TW" altLang="en-US" dirty="0"/>
              <a:t>在處理每個詞彙後所生成的「所有」輸出向量都交給 </a:t>
            </a:r>
            <a:r>
              <a:rPr lang="en-US" altLang="zh-TW" dirty="0"/>
              <a:t>Decoder</a:t>
            </a:r>
            <a:r>
              <a:rPr lang="zh-TW" altLang="en-US" dirty="0"/>
              <a:t>，讓 </a:t>
            </a:r>
            <a:r>
              <a:rPr lang="en-US" altLang="zh-TW" dirty="0"/>
              <a:t>Decoder </a:t>
            </a:r>
            <a:r>
              <a:rPr lang="zh-TW" altLang="en-US" dirty="0"/>
              <a:t>自己決定在生成新序列的時候要把「注意」放在 </a:t>
            </a:r>
            <a:r>
              <a:rPr lang="en-US" altLang="zh-TW" dirty="0"/>
              <a:t>Encoder  </a:t>
            </a:r>
            <a:r>
              <a:rPr lang="zh-TW" altLang="en-US" dirty="0"/>
              <a:t>的哪些輸出向量</a:t>
            </a:r>
            <a:r>
              <a:rPr lang="zh-TW" altLang="en-US" dirty="0" smtClean="0"/>
              <a:t>上面</a:t>
            </a:r>
            <a:endParaRPr lang="en-US" altLang="zh-TW" dirty="0" smtClean="0"/>
          </a:p>
          <a:p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894" y="2506071"/>
            <a:ext cx="7743612" cy="34481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2193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829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431498;#431500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faae1e5-443b-4bd8-857c-6457c013349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379133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308566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ca4907-58a4-4bf3-8c0c-2509acb70dc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223340;"/>
  <p:tag name="ISLIDE.VECTOR" val="#379134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6f6d9a9-ef99-41cd-9334-ef7ede97a84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8e7e138-8b4f-426a-adac-f69d349703f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二月资源主题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E1B3D"/>
      </a:accent1>
      <a:accent2>
        <a:srgbClr val="3C4D7A"/>
      </a:accent2>
      <a:accent3>
        <a:srgbClr val="FDBE11"/>
      </a:accent3>
      <a:accent4>
        <a:srgbClr val="7F7F7F"/>
      </a:accent4>
      <a:accent5>
        <a:srgbClr val="A5A5A5"/>
      </a:accent5>
      <a:accent6>
        <a:srgbClr val="C9C9C9"/>
      </a:accent6>
      <a:hlink>
        <a:srgbClr val="A40926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二月资源主题">
    <a:dk1>
      <a:srgbClr val="000000"/>
    </a:dk1>
    <a:lt1>
      <a:srgbClr val="FFFFFF"/>
    </a:lt1>
    <a:dk2>
      <a:srgbClr val="768394"/>
    </a:dk2>
    <a:lt2>
      <a:srgbClr val="F0F0F0"/>
    </a:lt2>
    <a:accent1>
      <a:srgbClr val="0E1B3D"/>
    </a:accent1>
    <a:accent2>
      <a:srgbClr val="3C4D7A"/>
    </a:accent2>
    <a:accent3>
      <a:srgbClr val="FDBE11"/>
    </a:accent3>
    <a:accent4>
      <a:srgbClr val="7F7F7F"/>
    </a:accent4>
    <a:accent5>
      <a:srgbClr val="A5A5A5"/>
    </a:accent5>
    <a:accent6>
      <a:srgbClr val="C9C9C9"/>
    </a:accent6>
    <a:hlink>
      <a:srgbClr val="A40926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Yoyo</Template>
  <TotalTime>193</TotalTime>
  <Words>2106</Words>
  <Application>Microsoft Office PowerPoint</Application>
  <PresentationFormat>自訂</PresentationFormat>
  <Paragraphs>187</Paragraphs>
  <Slides>42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2</vt:i4>
      </vt:variant>
    </vt:vector>
  </HeadingPairs>
  <TitlesOfParts>
    <vt:vector size="44" baseType="lpstr">
      <vt:lpstr>主题5</vt:lpstr>
      <vt:lpstr>think-cell Slide</vt:lpstr>
      <vt:lpstr>Transformer 模型 簡介</vt:lpstr>
      <vt:lpstr>PowerPoint 簡報</vt:lpstr>
      <vt:lpstr>rnn/seq2seq的問題</vt:lpstr>
      <vt:lpstr>rnn/seq2seq的問題</vt:lpstr>
      <vt:lpstr>rnn/seq2seq的問題</vt:lpstr>
      <vt:lpstr>rnn/seq2seq的問題</vt:lpstr>
      <vt:lpstr>Attention概念 </vt:lpstr>
      <vt:lpstr>注意力的概念</vt:lpstr>
      <vt:lpstr>注意力的概念</vt:lpstr>
      <vt:lpstr>注意力的概念</vt:lpstr>
      <vt:lpstr>注意力的概念</vt:lpstr>
      <vt:lpstr>注意力的概念</vt:lpstr>
      <vt:lpstr>Transformer Model</vt:lpstr>
      <vt:lpstr>Transformer</vt:lpstr>
      <vt:lpstr>Transformer - 架構</vt:lpstr>
      <vt:lpstr>Transformer - 架構</vt:lpstr>
      <vt:lpstr>Transformer - Encoder 架構</vt:lpstr>
      <vt:lpstr>Transformer - Decoder架構</vt:lpstr>
      <vt:lpstr>Transformer  - 輸入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Self-Attention</vt:lpstr>
      <vt:lpstr>Transformer - Multi-Head Attention</vt:lpstr>
      <vt:lpstr>Transformer - Multi-Head Attention</vt:lpstr>
      <vt:lpstr>Transformer - Multi-Head Attention</vt:lpstr>
      <vt:lpstr>Transformer - Multi-Head Attention</vt:lpstr>
      <vt:lpstr>Transformer - Positional Encoding</vt:lpstr>
      <vt:lpstr>Transformer - Positional Encoding</vt:lpstr>
      <vt:lpstr>Transformer - Decoder</vt:lpstr>
      <vt:lpstr>Transformer - Decoder</vt:lpstr>
      <vt:lpstr>Transformer – Decoder -整體解碼過程</vt:lpstr>
      <vt:lpstr>Transformer- Encoder-Decoder Attention</vt:lpstr>
      <vt:lpstr>Transformer- Masked Self-Attention</vt:lpstr>
      <vt:lpstr>Transformer- The Final Linear and Softmax Layer</vt:lpstr>
      <vt:lpstr>Transformer- The Final Linear and Softmax Layer</vt:lpstr>
      <vt:lpstr>Transformer- Feed Forward</vt:lpstr>
      <vt:lpstr>Demo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oyo</dc:creator>
  <cp:lastModifiedBy>bihjbhujnujmuiju</cp:lastModifiedBy>
  <cp:revision>50</cp:revision>
  <cp:lastPrinted>2020-03-15T16:00:00Z</cp:lastPrinted>
  <dcterms:created xsi:type="dcterms:W3CDTF">2020-03-15T16:00:00Z</dcterms:created>
  <dcterms:modified xsi:type="dcterms:W3CDTF">2020-12-22T00:5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